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theme/theme4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5.xml" ContentType="application/vnd.openxmlformats-officedocument.theme+xml"/>
  <Override PartName="/ppt/slideLayouts/slideLayout13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3" r:id="rId2"/>
    <p:sldMasterId id="2147483666" r:id="rId3"/>
    <p:sldMasterId id="2147483669" r:id="rId4"/>
    <p:sldMasterId id="2147483671" r:id="rId5"/>
    <p:sldMasterId id="2147483713" r:id="rId6"/>
  </p:sldMasterIdLst>
  <p:notesMasterIdLst>
    <p:notesMasterId r:id="rId29"/>
  </p:notesMasterIdLst>
  <p:handoutMasterIdLst>
    <p:handoutMasterId r:id="rId30"/>
  </p:handoutMasterIdLst>
  <p:sldIdLst>
    <p:sldId id="895" r:id="rId7"/>
    <p:sldId id="929" r:id="rId8"/>
    <p:sldId id="903" r:id="rId9"/>
    <p:sldId id="905" r:id="rId10"/>
    <p:sldId id="906" r:id="rId11"/>
    <p:sldId id="907" r:id="rId12"/>
    <p:sldId id="908" r:id="rId13"/>
    <p:sldId id="909" r:id="rId14"/>
    <p:sldId id="910" r:id="rId15"/>
    <p:sldId id="928" r:id="rId16"/>
    <p:sldId id="911" r:id="rId17"/>
    <p:sldId id="912" r:id="rId18"/>
    <p:sldId id="913" r:id="rId19"/>
    <p:sldId id="914" r:id="rId20"/>
    <p:sldId id="915" r:id="rId21"/>
    <p:sldId id="927" r:id="rId22"/>
    <p:sldId id="916" r:id="rId23"/>
    <p:sldId id="917" r:id="rId24"/>
    <p:sldId id="918" r:id="rId25"/>
    <p:sldId id="919" r:id="rId26"/>
    <p:sldId id="920" r:id="rId27"/>
    <p:sldId id="271" r:id="rId28"/>
  </p:sldIdLst>
  <p:sldSz cx="12192000" cy="6858000"/>
  <p:notesSz cx="7010400" cy="9296400"/>
  <p:defaultTextStyle>
    <a:defPPr>
      <a:defRPr lang="es-C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tza del Pilar Sanchez Rubiano" initials="MdPSR" lastIdx="25" clrIdx="0">
    <p:extLst>
      <p:ext uri="{19B8F6BF-5375-455C-9EA6-DF929625EA0E}">
        <p15:presenceInfo xmlns:p15="http://schemas.microsoft.com/office/powerpoint/2012/main" userId="S-1-5-21-149498059-94652776-1307212239-38859" providerId="AD"/>
      </p:ext>
    </p:extLst>
  </p:cmAuthor>
  <p:cmAuthor id="2" name="Germán Nova" initials="GN" lastIdx="2" clrIdx="1">
    <p:extLst>
      <p:ext uri="{19B8F6BF-5375-455C-9EA6-DF929625EA0E}">
        <p15:presenceInfo xmlns:p15="http://schemas.microsoft.com/office/powerpoint/2012/main" userId="8da804a3d77b923e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7D31"/>
    <a:srgbClr val="1F4E79"/>
    <a:srgbClr val="018E6B"/>
    <a:srgbClr val="FFFFFF"/>
    <a:srgbClr val="FBE5D6"/>
    <a:srgbClr val="FF4646"/>
    <a:srgbClr val="EFF5FB"/>
    <a:srgbClr val="073763"/>
    <a:srgbClr val="E2ECFD"/>
    <a:srgbClr val="6996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Estilo temático 1 - Énfasis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Estilo medio 2 - Énfasis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368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51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34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Relationship Id="rId8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lmesa\Documents\INVIAS\2020%20-%20ASTRID%20MESA\PIC%202020\Diagn&#243;stico%20PIC%202020\resultados%20necesidades%20individuales%202020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OTRAS NECESIDADES IDENTIFICADA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s-CO"/>
        </a:p>
      </c:txPr>
    </c:title>
    <c:autoTitleDeleted val="0"/>
    <c:plotArea>
      <c:layout>
        <c:manualLayout>
          <c:layoutTarget val="inner"/>
          <c:xMode val="edge"/>
          <c:yMode val="edge"/>
          <c:x val="0.30312864920809984"/>
          <c:y val="8.9432283787538647E-2"/>
          <c:w val="0.37712022022262809"/>
          <c:h val="0.52148985076426169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lumMod val="110000"/>
                      <a:satMod val="105000"/>
                      <a:tint val="67000"/>
                    </a:schemeClr>
                  </a:gs>
                  <a:gs pos="50000">
                    <a:schemeClr val="accent1">
                      <a:lumMod val="105000"/>
                      <a:satMod val="103000"/>
                      <a:tint val="73000"/>
                    </a:schemeClr>
                  </a:gs>
                  <a:gs pos="100000">
                    <a:schemeClr val="accent1">
                      <a:lumMod val="105000"/>
                      <a:satMod val="109000"/>
                      <a:tint val="81000"/>
                    </a:schemeClr>
                  </a:gs>
                </a:gsLst>
                <a:lin ang="5400000" scaled="0"/>
              </a:gra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56B2-4FCB-9560-3588C5B3A944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lumMod val="110000"/>
                      <a:satMod val="105000"/>
                      <a:tint val="67000"/>
                    </a:schemeClr>
                  </a:gs>
                  <a:gs pos="50000">
                    <a:schemeClr val="accent2">
                      <a:lumMod val="105000"/>
                      <a:satMod val="103000"/>
                      <a:tint val="73000"/>
                    </a:schemeClr>
                  </a:gs>
                  <a:gs pos="100000">
                    <a:schemeClr val="accent2">
                      <a:lumMod val="105000"/>
                      <a:satMod val="109000"/>
                      <a:tint val="81000"/>
                    </a:schemeClr>
                  </a:gs>
                </a:gsLst>
                <a:lin ang="5400000" scaled="0"/>
              </a:gra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56B2-4FCB-9560-3588C5B3A944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lumMod val="110000"/>
                      <a:satMod val="105000"/>
                      <a:tint val="67000"/>
                    </a:schemeClr>
                  </a:gs>
                  <a:gs pos="50000">
                    <a:schemeClr val="accent3">
                      <a:lumMod val="105000"/>
                      <a:satMod val="103000"/>
                      <a:tint val="73000"/>
                    </a:schemeClr>
                  </a:gs>
                  <a:gs pos="100000">
                    <a:schemeClr val="accent3">
                      <a:lumMod val="105000"/>
                      <a:satMod val="109000"/>
                      <a:tint val="81000"/>
                    </a:schemeClr>
                  </a:gs>
                </a:gsLst>
                <a:lin ang="5400000" scaled="0"/>
              </a:gradFill>
              <a:ln w="9525" cap="flat" cmpd="sng" algn="ctr">
                <a:solidFill>
                  <a:schemeClr val="accent3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56B2-4FCB-9560-3588C5B3A944}"/>
              </c:ext>
            </c:extLst>
          </c:dPt>
          <c:dPt>
            <c:idx val="3"/>
            <c:bubble3D val="0"/>
            <c:spPr>
              <a:gradFill rotWithShape="1">
                <a:gsLst>
                  <a:gs pos="0">
                    <a:schemeClr val="accent4">
                      <a:lumMod val="110000"/>
                      <a:satMod val="105000"/>
                      <a:tint val="67000"/>
                    </a:schemeClr>
                  </a:gs>
                  <a:gs pos="50000">
                    <a:schemeClr val="accent4">
                      <a:lumMod val="105000"/>
                      <a:satMod val="103000"/>
                      <a:tint val="73000"/>
                    </a:schemeClr>
                  </a:gs>
                  <a:gs pos="100000">
                    <a:schemeClr val="accent4">
                      <a:lumMod val="105000"/>
                      <a:satMod val="109000"/>
                      <a:tint val="81000"/>
                    </a:schemeClr>
                  </a:gs>
                </a:gsLst>
                <a:lin ang="5400000" scaled="0"/>
              </a:gradFill>
              <a:ln w="9525" cap="flat" cmpd="sng" algn="ctr">
                <a:solidFill>
                  <a:schemeClr val="accent4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56B2-4FCB-9560-3588C5B3A944}"/>
              </c:ext>
            </c:extLst>
          </c:dPt>
          <c:dPt>
            <c:idx val="4"/>
            <c:bubble3D val="0"/>
            <c:spPr>
              <a:gradFill rotWithShape="1">
                <a:gsLst>
                  <a:gs pos="0">
                    <a:schemeClr val="accent5">
                      <a:lumMod val="110000"/>
                      <a:satMod val="105000"/>
                      <a:tint val="67000"/>
                    </a:schemeClr>
                  </a:gs>
                  <a:gs pos="50000">
                    <a:schemeClr val="accent5">
                      <a:lumMod val="105000"/>
                      <a:satMod val="103000"/>
                      <a:tint val="73000"/>
                    </a:schemeClr>
                  </a:gs>
                  <a:gs pos="100000">
                    <a:schemeClr val="accent5">
                      <a:lumMod val="105000"/>
                      <a:satMod val="109000"/>
                      <a:tint val="81000"/>
                    </a:schemeClr>
                  </a:gs>
                </a:gsLst>
                <a:lin ang="5400000" scaled="0"/>
              </a:gradFill>
              <a:ln w="9525" cap="flat" cmpd="sng" algn="ctr">
                <a:solidFill>
                  <a:schemeClr val="accent5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9-56B2-4FCB-9560-3588C5B3A944}"/>
              </c:ext>
            </c:extLst>
          </c:dPt>
          <c:dPt>
            <c:idx val="5"/>
            <c:bubble3D val="0"/>
            <c:spPr>
              <a:gradFill rotWithShape="1">
                <a:gsLst>
                  <a:gs pos="0">
                    <a:schemeClr val="accent6">
                      <a:lumMod val="110000"/>
                      <a:satMod val="105000"/>
                      <a:tint val="67000"/>
                    </a:schemeClr>
                  </a:gs>
                  <a:gs pos="50000">
                    <a:schemeClr val="accent6">
                      <a:lumMod val="105000"/>
                      <a:satMod val="103000"/>
                      <a:tint val="73000"/>
                    </a:schemeClr>
                  </a:gs>
                  <a:gs pos="100000">
                    <a:schemeClr val="accent6">
                      <a:lumMod val="105000"/>
                      <a:satMod val="109000"/>
                      <a:tint val="81000"/>
                    </a:schemeClr>
                  </a:gs>
                </a:gsLst>
                <a:lin ang="5400000" scaled="0"/>
              </a:gradFill>
              <a:ln w="9525" cap="flat" cmpd="sng" algn="ctr">
                <a:solidFill>
                  <a:schemeClr val="accent6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B-56B2-4FCB-9560-3588C5B3A944}"/>
              </c:ext>
            </c:extLst>
          </c:dPt>
          <c:dPt>
            <c:idx val="6"/>
            <c:bubble3D val="0"/>
            <c:spPr>
              <a:gradFill rotWithShape="1">
                <a:gsLst>
                  <a:gs pos="0">
                    <a:schemeClr val="accent1">
                      <a:lumMod val="60000"/>
                      <a:lumMod val="110000"/>
                      <a:satMod val="105000"/>
                      <a:tint val="67000"/>
                    </a:schemeClr>
                  </a:gs>
                  <a:gs pos="50000">
                    <a:schemeClr val="accent1">
                      <a:lumMod val="60000"/>
                      <a:lumMod val="105000"/>
                      <a:satMod val="103000"/>
                      <a:tint val="73000"/>
                    </a:schemeClr>
                  </a:gs>
                  <a:gs pos="100000">
                    <a:schemeClr val="accent1">
                      <a:lumMod val="60000"/>
                      <a:lumMod val="105000"/>
                      <a:satMod val="109000"/>
                      <a:tint val="81000"/>
                    </a:schemeClr>
                  </a:gs>
                </a:gsLst>
                <a:lin ang="5400000" scaled="0"/>
              </a:gradFill>
              <a:ln w="9525" cap="flat" cmpd="sng" algn="ctr">
                <a:solidFill>
                  <a:schemeClr val="accent1">
                    <a:lumMod val="60000"/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D-56B2-4FCB-9560-3588C5B3A944}"/>
              </c:ext>
            </c:extLst>
          </c:dPt>
          <c:dPt>
            <c:idx val="7"/>
            <c:bubble3D val="0"/>
            <c:spPr>
              <a:gradFill rotWithShape="1">
                <a:gsLst>
                  <a:gs pos="0">
                    <a:schemeClr val="accent2">
                      <a:lumMod val="60000"/>
                      <a:lumMod val="110000"/>
                      <a:satMod val="105000"/>
                      <a:tint val="67000"/>
                    </a:schemeClr>
                  </a:gs>
                  <a:gs pos="50000">
                    <a:schemeClr val="accent2">
                      <a:lumMod val="60000"/>
                      <a:lumMod val="105000"/>
                      <a:satMod val="103000"/>
                      <a:tint val="73000"/>
                    </a:schemeClr>
                  </a:gs>
                  <a:gs pos="100000">
                    <a:schemeClr val="accent2">
                      <a:lumMod val="60000"/>
                      <a:lumMod val="105000"/>
                      <a:satMod val="109000"/>
                      <a:tint val="81000"/>
                    </a:schemeClr>
                  </a:gs>
                </a:gsLst>
                <a:lin ang="5400000" scaled="0"/>
              </a:gradFill>
              <a:ln w="9525" cap="flat" cmpd="sng" algn="ctr">
                <a:solidFill>
                  <a:schemeClr val="accent2">
                    <a:lumMod val="60000"/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F-56B2-4FCB-9560-3588C5B3A94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>
                  <a:solidFill>
                    <a:schemeClr val="tx1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Hoja1!$A$2:$A$28</c:f>
              <c:strCache>
                <c:ptCount val="8"/>
                <c:pt idx="0">
                  <c:v>Plan Nacional de Desarrollo</c:v>
                </c:pt>
                <c:pt idx="1">
                  <c:v>Sistema integrado de gestión</c:v>
                </c:pt>
                <c:pt idx="2">
                  <c:v>Supervisión e interventoría</c:v>
                </c:pt>
                <c:pt idx="3">
                  <c:v>Gerencia de Proyectos</c:v>
                </c:pt>
                <c:pt idx="4">
                  <c:v>Gestión presupuestal / Control y manejo de recursos públicos</c:v>
                </c:pt>
                <c:pt idx="5">
                  <c:v>Seguridad y salud en el trabajo</c:v>
                </c:pt>
                <c:pt idx="6">
                  <c:v>Gestión Documental</c:v>
                </c:pt>
                <c:pt idx="7">
                  <c:v>Habilidades blandas</c:v>
                </c:pt>
              </c:strCache>
            </c:strRef>
          </c:cat>
          <c:val>
            <c:numRef>
              <c:f>Hoja1!$C$2:$C$28</c:f>
              <c:numCache>
                <c:formatCode>0%</c:formatCode>
                <c:ptCount val="8"/>
                <c:pt idx="0">
                  <c:v>0.4</c:v>
                </c:pt>
                <c:pt idx="1">
                  <c:v>0.43</c:v>
                </c:pt>
                <c:pt idx="2">
                  <c:v>0.47</c:v>
                </c:pt>
                <c:pt idx="3">
                  <c:v>0.41</c:v>
                </c:pt>
                <c:pt idx="4">
                  <c:v>0.45</c:v>
                </c:pt>
                <c:pt idx="5">
                  <c:v>0.42</c:v>
                </c:pt>
                <c:pt idx="6">
                  <c:v>0.43</c:v>
                </c:pt>
                <c:pt idx="7">
                  <c:v>0.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56B2-4FCB-9560-3588C5B3A9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3638383154042747"/>
          <c:y val="0.60741525641760719"/>
          <c:w val="0.58461631078990151"/>
          <c:h val="0.3785814886525855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s-C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O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svg"/><Relationship Id="rId1" Type="http://schemas.openxmlformats.org/officeDocument/2006/relationships/image" Target="../media/image10.png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10" Type="http://schemas.openxmlformats.org/officeDocument/2006/relationships/image" Target="../media/image19.svg"/><Relationship Id="rId4" Type="http://schemas.openxmlformats.org/officeDocument/2006/relationships/image" Target="../media/image13.svg"/><Relationship Id="rId9" Type="http://schemas.openxmlformats.org/officeDocument/2006/relationships/image" Target="../media/image18.pn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svg"/><Relationship Id="rId1" Type="http://schemas.openxmlformats.org/officeDocument/2006/relationships/image" Target="../media/image10.png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10" Type="http://schemas.openxmlformats.org/officeDocument/2006/relationships/image" Target="../media/image19.svg"/><Relationship Id="rId4" Type="http://schemas.openxmlformats.org/officeDocument/2006/relationships/image" Target="../media/image13.svg"/><Relationship Id="rId9" Type="http://schemas.openxmlformats.org/officeDocument/2006/relationships/image" Target="../media/image18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6_3">
  <dgm:title val=""/>
  <dgm:desc val=""/>
  <dgm:catLst>
    <dgm:cat type="accent6" pri="11300"/>
  </dgm:catLst>
  <dgm:styleLbl name="node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shade val="80000"/>
      </a:schemeClr>
      <a:schemeClr val="accent6">
        <a:tint val="7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/>
    <dgm:txEffectClrLst/>
  </dgm:styleLbl>
  <dgm:styleLbl name="ln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9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8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F351E48-FD39-4C7F-9640-8FB3A00C965A}" type="doc">
      <dgm:prSet loTypeId="urn:microsoft.com/office/officeart/2018/2/layout/IconLabel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s-ES"/>
        </a:p>
      </dgm:t>
    </dgm:pt>
    <dgm:pt modelId="{F095C1B7-7A18-4C45-8549-EFE346612858}">
      <dgm:prSet/>
      <dgm:spPr/>
      <dgm:t>
        <a:bodyPr/>
        <a:lstStyle/>
        <a:p>
          <a:pPr>
            <a:lnSpc>
              <a:spcPct val="100000"/>
            </a:lnSpc>
          </a:pPr>
          <a:r>
            <a:rPr lang="es-ES"/>
            <a:t>•Encuesta de  necesidades de aprendizaje individual</a:t>
          </a:r>
        </a:p>
      </dgm:t>
    </dgm:pt>
    <dgm:pt modelId="{A6E94CB0-E5F0-4CFA-A1FA-5612427CCAC1}" type="parTrans" cxnId="{4571939D-01C0-4E39-9CB5-DE7C1675EB8E}">
      <dgm:prSet/>
      <dgm:spPr/>
      <dgm:t>
        <a:bodyPr/>
        <a:lstStyle/>
        <a:p>
          <a:endParaRPr lang="es-ES"/>
        </a:p>
      </dgm:t>
    </dgm:pt>
    <dgm:pt modelId="{C4CFE56D-1EA5-4443-8DE1-30AB07B7272B}" type="sibTrans" cxnId="{4571939D-01C0-4E39-9CB5-DE7C1675EB8E}">
      <dgm:prSet/>
      <dgm:spPr/>
      <dgm:t>
        <a:bodyPr/>
        <a:lstStyle/>
        <a:p>
          <a:endParaRPr lang="es-ES"/>
        </a:p>
      </dgm:t>
    </dgm:pt>
    <dgm:pt modelId="{0FC106E9-AFE7-41B9-82E3-3AFCC3C1F7BE}">
      <dgm:prSet/>
      <dgm:spPr/>
      <dgm:t>
        <a:bodyPr/>
        <a:lstStyle/>
        <a:p>
          <a:pPr>
            <a:lnSpc>
              <a:spcPct val="100000"/>
            </a:lnSpc>
          </a:pPr>
          <a:r>
            <a:rPr lang="es-ES"/>
            <a:t>•Encuesta de necesidades de aprendizaje por dependencias</a:t>
          </a:r>
        </a:p>
      </dgm:t>
    </dgm:pt>
    <dgm:pt modelId="{44569C0A-67B7-461B-989D-D060A87FE821}" type="parTrans" cxnId="{052503C7-1565-4B26-8F3B-568C72863DC4}">
      <dgm:prSet/>
      <dgm:spPr/>
      <dgm:t>
        <a:bodyPr/>
        <a:lstStyle/>
        <a:p>
          <a:endParaRPr lang="es-ES"/>
        </a:p>
      </dgm:t>
    </dgm:pt>
    <dgm:pt modelId="{72F880FB-BEFA-4965-AEAB-9BF8B17C5736}" type="sibTrans" cxnId="{052503C7-1565-4B26-8F3B-568C72863DC4}">
      <dgm:prSet/>
      <dgm:spPr/>
      <dgm:t>
        <a:bodyPr/>
        <a:lstStyle/>
        <a:p>
          <a:endParaRPr lang="es-ES"/>
        </a:p>
      </dgm:t>
    </dgm:pt>
    <dgm:pt modelId="{12F903C6-C039-41AA-9690-FAE283DA8A2B}">
      <dgm:prSet/>
      <dgm:spPr/>
      <dgm:t>
        <a:bodyPr/>
        <a:lstStyle/>
        <a:p>
          <a:pPr>
            <a:lnSpc>
              <a:spcPct val="100000"/>
            </a:lnSpc>
          </a:pPr>
          <a:r>
            <a:rPr lang="es-ES"/>
            <a:t>•Recomendaciones de la Oficina Asesora de Planeación y la Oficina de Control Interno</a:t>
          </a:r>
        </a:p>
      </dgm:t>
    </dgm:pt>
    <dgm:pt modelId="{06B02143-56EB-4955-9523-F2924A20C421}" type="parTrans" cxnId="{D9D39560-A79A-45BA-888A-80DEE843D35D}">
      <dgm:prSet/>
      <dgm:spPr/>
      <dgm:t>
        <a:bodyPr/>
        <a:lstStyle/>
        <a:p>
          <a:endParaRPr lang="es-ES"/>
        </a:p>
      </dgm:t>
    </dgm:pt>
    <dgm:pt modelId="{62169819-76B2-4464-899A-0867C8B4FBAF}" type="sibTrans" cxnId="{D9D39560-A79A-45BA-888A-80DEE843D35D}">
      <dgm:prSet/>
      <dgm:spPr/>
      <dgm:t>
        <a:bodyPr/>
        <a:lstStyle/>
        <a:p>
          <a:endParaRPr lang="es-ES"/>
        </a:p>
      </dgm:t>
    </dgm:pt>
    <dgm:pt modelId="{C28742FC-0D45-4B9E-860F-8D682F70B57E}">
      <dgm:prSet/>
      <dgm:spPr/>
      <dgm:t>
        <a:bodyPr/>
        <a:lstStyle/>
        <a:p>
          <a:pPr>
            <a:lnSpc>
              <a:spcPct val="100000"/>
            </a:lnSpc>
          </a:pPr>
          <a:r>
            <a:rPr lang="es-ES"/>
            <a:t>•Resultados de la evaluación de desempeño </a:t>
          </a:r>
        </a:p>
      </dgm:t>
    </dgm:pt>
    <dgm:pt modelId="{945C48C0-E29B-49FB-A270-6DFDE21DA57C}" type="parTrans" cxnId="{1053276B-0BD1-456F-81CF-877627537B30}">
      <dgm:prSet/>
      <dgm:spPr/>
      <dgm:t>
        <a:bodyPr/>
        <a:lstStyle/>
        <a:p>
          <a:endParaRPr lang="es-ES"/>
        </a:p>
      </dgm:t>
    </dgm:pt>
    <dgm:pt modelId="{E0AC4014-285B-44CF-B1A8-3E0264F250CE}" type="sibTrans" cxnId="{1053276B-0BD1-456F-81CF-877627537B30}">
      <dgm:prSet/>
      <dgm:spPr/>
      <dgm:t>
        <a:bodyPr/>
        <a:lstStyle/>
        <a:p>
          <a:endParaRPr lang="es-ES"/>
        </a:p>
      </dgm:t>
    </dgm:pt>
    <dgm:pt modelId="{F7FFC3DE-B402-4C85-9DA2-3F296BD5B18D}">
      <dgm:prSet/>
      <dgm:spPr/>
      <dgm:t>
        <a:bodyPr/>
        <a:lstStyle/>
        <a:p>
          <a:pPr>
            <a:lnSpc>
              <a:spcPct val="100000"/>
            </a:lnSpc>
          </a:pPr>
          <a:r>
            <a:rPr lang="es-ES"/>
            <a:t>•Plan Operativo de la entidad  </a:t>
          </a:r>
        </a:p>
      </dgm:t>
    </dgm:pt>
    <dgm:pt modelId="{80DDE65F-71E1-4E2C-AF89-E502ACEE6532}" type="parTrans" cxnId="{464CED1E-007C-4D62-9F0E-22F4B67D735C}">
      <dgm:prSet/>
      <dgm:spPr/>
      <dgm:t>
        <a:bodyPr/>
        <a:lstStyle/>
        <a:p>
          <a:endParaRPr lang="es-ES"/>
        </a:p>
      </dgm:t>
    </dgm:pt>
    <dgm:pt modelId="{D5ACC76C-CBE4-487A-9BDF-7E3573693189}" type="sibTrans" cxnId="{464CED1E-007C-4D62-9F0E-22F4B67D735C}">
      <dgm:prSet/>
      <dgm:spPr/>
      <dgm:t>
        <a:bodyPr/>
        <a:lstStyle/>
        <a:p>
          <a:endParaRPr lang="es-ES"/>
        </a:p>
      </dgm:t>
    </dgm:pt>
    <dgm:pt modelId="{E16C2583-07A6-4176-A05B-D04F84A9F882}" type="pres">
      <dgm:prSet presAssocID="{DF351E48-FD39-4C7F-9640-8FB3A00C965A}" presName="root" presStyleCnt="0">
        <dgm:presLayoutVars>
          <dgm:dir/>
          <dgm:resizeHandles val="exact"/>
        </dgm:presLayoutVars>
      </dgm:prSet>
      <dgm:spPr/>
    </dgm:pt>
    <dgm:pt modelId="{75FE3D3D-1145-43EA-B310-E07754985D5F}" type="pres">
      <dgm:prSet presAssocID="{F095C1B7-7A18-4C45-8549-EFE346612858}" presName="compNode" presStyleCnt="0"/>
      <dgm:spPr/>
    </dgm:pt>
    <dgm:pt modelId="{0EBF2E27-8DA4-4B46-B0E2-C75F5563F7CD}" type="pres">
      <dgm:prSet presAssocID="{F095C1B7-7A18-4C45-8549-EFE346612858}" presName="iconRect" presStyleLbl="node1" presStyleIdx="0" presStyleCnt="5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heck List"/>
        </a:ext>
      </dgm:extLst>
    </dgm:pt>
    <dgm:pt modelId="{738D288A-3310-47CA-A9F0-E73E941D689A}" type="pres">
      <dgm:prSet presAssocID="{F095C1B7-7A18-4C45-8549-EFE346612858}" presName="spaceRect" presStyleCnt="0"/>
      <dgm:spPr/>
    </dgm:pt>
    <dgm:pt modelId="{CBE969F9-2FA4-4A0F-A484-A0A20BFC277D}" type="pres">
      <dgm:prSet presAssocID="{F095C1B7-7A18-4C45-8549-EFE346612858}" presName="textRect" presStyleLbl="revTx" presStyleIdx="0" presStyleCnt="5">
        <dgm:presLayoutVars>
          <dgm:chMax val="1"/>
          <dgm:chPref val="1"/>
        </dgm:presLayoutVars>
      </dgm:prSet>
      <dgm:spPr/>
    </dgm:pt>
    <dgm:pt modelId="{E3D4517A-9C8A-4271-B82A-041DE3FA6937}" type="pres">
      <dgm:prSet presAssocID="{C4CFE56D-1EA5-4443-8DE1-30AB07B7272B}" presName="sibTrans" presStyleCnt="0"/>
      <dgm:spPr/>
    </dgm:pt>
    <dgm:pt modelId="{24E7B3A3-721B-4EB0-AE18-B1486D04DC06}" type="pres">
      <dgm:prSet presAssocID="{0FC106E9-AFE7-41B9-82E3-3AFCC3C1F7BE}" presName="compNode" presStyleCnt="0"/>
      <dgm:spPr/>
    </dgm:pt>
    <dgm:pt modelId="{16595E1D-E435-4226-B743-921921EB5323}" type="pres">
      <dgm:prSet presAssocID="{0FC106E9-AFE7-41B9-82E3-3AFCC3C1F7BE}" presName="iconRect" presStyleLbl="node1" presStyleIdx="1" presStyleCnt="5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lassroom"/>
        </a:ext>
      </dgm:extLst>
    </dgm:pt>
    <dgm:pt modelId="{BE41563D-98E4-4E45-BD1F-640BAB3E748B}" type="pres">
      <dgm:prSet presAssocID="{0FC106E9-AFE7-41B9-82E3-3AFCC3C1F7BE}" presName="spaceRect" presStyleCnt="0"/>
      <dgm:spPr/>
    </dgm:pt>
    <dgm:pt modelId="{9D0E925D-05CB-44A6-988E-FF45AC304116}" type="pres">
      <dgm:prSet presAssocID="{0FC106E9-AFE7-41B9-82E3-3AFCC3C1F7BE}" presName="textRect" presStyleLbl="revTx" presStyleIdx="1" presStyleCnt="5">
        <dgm:presLayoutVars>
          <dgm:chMax val="1"/>
          <dgm:chPref val="1"/>
        </dgm:presLayoutVars>
      </dgm:prSet>
      <dgm:spPr/>
    </dgm:pt>
    <dgm:pt modelId="{EFE70640-FCA7-48FE-A8D9-628E9A238343}" type="pres">
      <dgm:prSet presAssocID="{72F880FB-BEFA-4965-AEAB-9BF8B17C5736}" presName="sibTrans" presStyleCnt="0"/>
      <dgm:spPr/>
    </dgm:pt>
    <dgm:pt modelId="{ED491E93-4800-478B-AB68-92D4A8775C05}" type="pres">
      <dgm:prSet presAssocID="{12F903C6-C039-41AA-9690-FAE283DA8A2B}" presName="compNode" presStyleCnt="0"/>
      <dgm:spPr/>
    </dgm:pt>
    <dgm:pt modelId="{AD9AB47E-EE0C-4B0F-9D8B-E9A55EC53F79}" type="pres">
      <dgm:prSet presAssocID="{12F903C6-C039-41AA-9690-FAE283DA8A2B}" presName="iconRect" presStyleLbl="node1" presStyleIdx="2" presStyleCnt="5"/>
      <dgm:spPr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riefcase"/>
        </a:ext>
      </dgm:extLst>
    </dgm:pt>
    <dgm:pt modelId="{EBC36042-8C38-4ADD-A9D1-374E17CBE3F1}" type="pres">
      <dgm:prSet presAssocID="{12F903C6-C039-41AA-9690-FAE283DA8A2B}" presName="spaceRect" presStyleCnt="0"/>
      <dgm:spPr/>
    </dgm:pt>
    <dgm:pt modelId="{1F7A5B48-47EE-49D9-A55A-98D58C84765B}" type="pres">
      <dgm:prSet presAssocID="{12F903C6-C039-41AA-9690-FAE283DA8A2B}" presName="textRect" presStyleLbl="revTx" presStyleIdx="2" presStyleCnt="5">
        <dgm:presLayoutVars>
          <dgm:chMax val="1"/>
          <dgm:chPref val="1"/>
        </dgm:presLayoutVars>
      </dgm:prSet>
      <dgm:spPr/>
    </dgm:pt>
    <dgm:pt modelId="{C11B9AA0-E30C-4D78-8114-8B102820718A}" type="pres">
      <dgm:prSet presAssocID="{62169819-76B2-4464-899A-0867C8B4FBAF}" presName="sibTrans" presStyleCnt="0"/>
      <dgm:spPr/>
    </dgm:pt>
    <dgm:pt modelId="{3B293D44-7395-4A45-BB3A-8C9DEFB531D8}" type="pres">
      <dgm:prSet presAssocID="{C28742FC-0D45-4B9E-860F-8D682F70B57E}" presName="compNode" presStyleCnt="0"/>
      <dgm:spPr/>
    </dgm:pt>
    <dgm:pt modelId="{B0D50248-97B6-43AB-970F-A22280BC80D2}" type="pres">
      <dgm:prSet presAssocID="{C28742FC-0D45-4B9E-860F-8D682F70B57E}" presName="iconRect" presStyleLbl="node1" presStyleIdx="3" presStyleCnt="5"/>
      <dgm:spPr>
        <a:blipFill>
          <a:blip xmlns:r="http://schemas.openxmlformats.org/officeDocument/2006/relationships"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tatistics"/>
        </a:ext>
      </dgm:extLst>
    </dgm:pt>
    <dgm:pt modelId="{2416D62A-477E-471E-AF69-66B5AF89F522}" type="pres">
      <dgm:prSet presAssocID="{C28742FC-0D45-4B9E-860F-8D682F70B57E}" presName="spaceRect" presStyleCnt="0"/>
      <dgm:spPr/>
    </dgm:pt>
    <dgm:pt modelId="{EBDC3FA8-DD0A-4CE3-A11F-725F9C312AD2}" type="pres">
      <dgm:prSet presAssocID="{C28742FC-0D45-4B9E-860F-8D682F70B57E}" presName="textRect" presStyleLbl="revTx" presStyleIdx="3" presStyleCnt="5">
        <dgm:presLayoutVars>
          <dgm:chMax val="1"/>
          <dgm:chPref val="1"/>
        </dgm:presLayoutVars>
      </dgm:prSet>
      <dgm:spPr/>
    </dgm:pt>
    <dgm:pt modelId="{A844F031-8177-4214-AA70-8C929B0C1361}" type="pres">
      <dgm:prSet presAssocID="{E0AC4014-285B-44CF-B1A8-3E0264F250CE}" presName="sibTrans" presStyleCnt="0"/>
      <dgm:spPr/>
    </dgm:pt>
    <dgm:pt modelId="{A38EB101-E54F-4D2F-9D83-F3243D77B960}" type="pres">
      <dgm:prSet presAssocID="{F7FFC3DE-B402-4C85-9DA2-3F296BD5B18D}" presName="compNode" presStyleCnt="0"/>
      <dgm:spPr/>
    </dgm:pt>
    <dgm:pt modelId="{9348BEFC-0AA2-4A20-946B-1AFF799A5E15}" type="pres">
      <dgm:prSet presAssocID="{F7FFC3DE-B402-4C85-9DA2-3F296BD5B18D}" presName="iconRect" presStyleLbl="node1" presStyleIdx="4" presStyleCnt="5"/>
      <dgm:spPr>
        <a:blipFill>
          <a:blip xmlns:r="http://schemas.openxmlformats.org/officeDocument/2006/relationships"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ranching Diagram"/>
        </a:ext>
      </dgm:extLst>
    </dgm:pt>
    <dgm:pt modelId="{CA786B99-F7A0-438F-9477-38985233A4C3}" type="pres">
      <dgm:prSet presAssocID="{F7FFC3DE-B402-4C85-9DA2-3F296BD5B18D}" presName="spaceRect" presStyleCnt="0"/>
      <dgm:spPr/>
    </dgm:pt>
    <dgm:pt modelId="{1A9F37AE-95D4-430E-8666-4D2E793D049C}" type="pres">
      <dgm:prSet presAssocID="{F7FFC3DE-B402-4C85-9DA2-3F296BD5B18D}" presName="textRect" presStyleLbl="revTx" presStyleIdx="4" presStyleCnt="5">
        <dgm:presLayoutVars>
          <dgm:chMax val="1"/>
          <dgm:chPref val="1"/>
        </dgm:presLayoutVars>
      </dgm:prSet>
      <dgm:spPr/>
    </dgm:pt>
  </dgm:ptLst>
  <dgm:cxnLst>
    <dgm:cxn modelId="{464CED1E-007C-4D62-9F0E-22F4B67D735C}" srcId="{DF351E48-FD39-4C7F-9640-8FB3A00C965A}" destId="{F7FFC3DE-B402-4C85-9DA2-3F296BD5B18D}" srcOrd="4" destOrd="0" parTransId="{80DDE65F-71E1-4E2C-AF89-E502ACEE6532}" sibTransId="{D5ACC76C-CBE4-487A-9BDF-7E3573693189}"/>
    <dgm:cxn modelId="{D9D39560-A79A-45BA-888A-80DEE843D35D}" srcId="{DF351E48-FD39-4C7F-9640-8FB3A00C965A}" destId="{12F903C6-C039-41AA-9690-FAE283DA8A2B}" srcOrd="2" destOrd="0" parTransId="{06B02143-56EB-4955-9523-F2924A20C421}" sibTransId="{62169819-76B2-4464-899A-0867C8B4FBAF}"/>
    <dgm:cxn modelId="{37209B41-7588-44F8-BC14-A180D7E95F25}" type="presOf" srcId="{0FC106E9-AFE7-41B9-82E3-3AFCC3C1F7BE}" destId="{9D0E925D-05CB-44A6-988E-FF45AC304116}" srcOrd="0" destOrd="0" presId="urn:microsoft.com/office/officeart/2018/2/layout/IconLabelList"/>
    <dgm:cxn modelId="{1053276B-0BD1-456F-81CF-877627537B30}" srcId="{DF351E48-FD39-4C7F-9640-8FB3A00C965A}" destId="{C28742FC-0D45-4B9E-860F-8D682F70B57E}" srcOrd="3" destOrd="0" parTransId="{945C48C0-E29B-49FB-A270-6DFDE21DA57C}" sibTransId="{E0AC4014-285B-44CF-B1A8-3E0264F250CE}"/>
    <dgm:cxn modelId="{301AAC59-1C5C-46D9-9191-6D6727E25755}" type="presOf" srcId="{12F903C6-C039-41AA-9690-FAE283DA8A2B}" destId="{1F7A5B48-47EE-49D9-A55A-98D58C84765B}" srcOrd="0" destOrd="0" presId="urn:microsoft.com/office/officeart/2018/2/layout/IconLabelList"/>
    <dgm:cxn modelId="{4571939D-01C0-4E39-9CB5-DE7C1675EB8E}" srcId="{DF351E48-FD39-4C7F-9640-8FB3A00C965A}" destId="{F095C1B7-7A18-4C45-8549-EFE346612858}" srcOrd="0" destOrd="0" parTransId="{A6E94CB0-E5F0-4CFA-A1FA-5612427CCAC1}" sibTransId="{C4CFE56D-1EA5-4443-8DE1-30AB07B7272B}"/>
    <dgm:cxn modelId="{064D8DAC-CD49-4919-958B-CB0CD125A672}" type="presOf" srcId="{DF351E48-FD39-4C7F-9640-8FB3A00C965A}" destId="{E16C2583-07A6-4176-A05B-D04F84A9F882}" srcOrd="0" destOrd="0" presId="urn:microsoft.com/office/officeart/2018/2/layout/IconLabelList"/>
    <dgm:cxn modelId="{802390AF-103A-4AF8-AE55-7A4CB4416CBE}" type="presOf" srcId="{F095C1B7-7A18-4C45-8549-EFE346612858}" destId="{CBE969F9-2FA4-4A0F-A484-A0A20BFC277D}" srcOrd="0" destOrd="0" presId="urn:microsoft.com/office/officeart/2018/2/layout/IconLabelList"/>
    <dgm:cxn modelId="{052503C7-1565-4B26-8F3B-568C72863DC4}" srcId="{DF351E48-FD39-4C7F-9640-8FB3A00C965A}" destId="{0FC106E9-AFE7-41B9-82E3-3AFCC3C1F7BE}" srcOrd="1" destOrd="0" parTransId="{44569C0A-67B7-461B-989D-D060A87FE821}" sibTransId="{72F880FB-BEFA-4965-AEAB-9BF8B17C5736}"/>
    <dgm:cxn modelId="{2E0DEECF-058F-4E33-9A72-24BDF782D989}" type="presOf" srcId="{F7FFC3DE-B402-4C85-9DA2-3F296BD5B18D}" destId="{1A9F37AE-95D4-430E-8666-4D2E793D049C}" srcOrd="0" destOrd="0" presId="urn:microsoft.com/office/officeart/2018/2/layout/IconLabelList"/>
    <dgm:cxn modelId="{196DFDF3-013C-4A42-8757-A1890DBFAAE6}" type="presOf" srcId="{C28742FC-0D45-4B9E-860F-8D682F70B57E}" destId="{EBDC3FA8-DD0A-4CE3-A11F-725F9C312AD2}" srcOrd="0" destOrd="0" presId="urn:microsoft.com/office/officeart/2018/2/layout/IconLabelList"/>
    <dgm:cxn modelId="{3A8B551E-4711-4E75-8F32-41A9C28C9D9A}" type="presParOf" srcId="{E16C2583-07A6-4176-A05B-D04F84A9F882}" destId="{75FE3D3D-1145-43EA-B310-E07754985D5F}" srcOrd="0" destOrd="0" presId="urn:microsoft.com/office/officeart/2018/2/layout/IconLabelList"/>
    <dgm:cxn modelId="{874D2A3D-D3F3-4099-A157-18F8C5DCD322}" type="presParOf" srcId="{75FE3D3D-1145-43EA-B310-E07754985D5F}" destId="{0EBF2E27-8DA4-4B46-B0E2-C75F5563F7CD}" srcOrd="0" destOrd="0" presId="urn:microsoft.com/office/officeart/2018/2/layout/IconLabelList"/>
    <dgm:cxn modelId="{3A59467B-3E10-4DDC-BF9E-6C4D4350D555}" type="presParOf" srcId="{75FE3D3D-1145-43EA-B310-E07754985D5F}" destId="{738D288A-3310-47CA-A9F0-E73E941D689A}" srcOrd="1" destOrd="0" presId="urn:microsoft.com/office/officeart/2018/2/layout/IconLabelList"/>
    <dgm:cxn modelId="{28922D55-F42E-46F8-AF0D-8B9022DF1B01}" type="presParOf" srcId="{75FE3D3D-1145-43EA-B310-E07754985D5F}" destId="{CBE969F9-2FA4-4A0F-A484-A0A20BFC277D}" srcOrd="2" destOrd="0" presId="urn:microsoft.com/office/officeart/2018/2/layout/IconLabelList"/>
    <dgm:cxn modelId="{F4E3F8EC-F710-490F-886E-733012997253}" type="presParOf" srcId="{E16C2583-07A6-4176-A05B-D04F84A9F882}" destId="{E3D4517A-9C8A-4271-B82A-041DE3FA6937}" srcOrd="1" destOrd="0" presId="urn:microsoft.com/office/officeart/2018/2/layout/IconLabelList"/>
    <dgm:cxn modelId="{24FFABC5-5AEB-4009-8994-F35D54C3FA7D}" type="presParOf" srcId="{E16C2583-07A6-4176-A05B-D04F84A9F882}" destId="{24E7B3A3-721B-4EB0-AE18-B1486D04DC06}" srcOrd="2" destOrd="0" presId="urn:microsoft.com/office/officeart/2018/2/layout/IconLabelList"/>
    <dgm:cxn modelId="{E8096BC0-D9D9-44C2-B301-996DEB14A02E}" type="presParOf" srcId="{24E7B3A3-721B-4EB0-AE18-B1486D04DC06}" destId="{16595E1D-E435-4226-B743-921921EB5323}" srcOrd="0" destOrd="0" presId="urn:microsoft.com/office/officeart/2018/2/layout/IconLabelList"/>
    <dgm:cxn modelId="{59CB537A-7B40-4D4B-97E1-8CF04B1E44DF}" type="presParOf" srcId="{24E7B3A3-721B-4EB0-AE18-B1486D04DC06}" destId="{BE41563D-98E4-4E45-BD1F-640BAB3E748B}" srcOrd="1" destOrd="0" presId="urn:microsoft.com/office/officeart/2018/2/layout/IconLabelList"/>
    <dgm:cxn modelId="{0E652A61-B6F7-4F16-9F16-DD4725F8D7AC}" type="presParOf" srcId="{24E7B3A3-721B-4EB0-AE18-B1486D04DC06}" destId="{9D0E925D-05CB-44A6-988E-FF45AC304116}" srcOrd="2" destOrd="0" presId="urn:microsoft.com/office/officeart/2018/2/layout/IconLabelList"/>
    <dgm:cxn modelId="{43A54180-148D-4EF3-B60A-2007D87C53F1}" type="presParOf" srcId="{E16C2583-07A6-4176-A05B-D04F84A9F882}" destId="{EFE70640-FCA7-48FE-A8D9-628E9A238343}" srcOrd="3" destOrd="0" presId="urn:microsoft.com/office/officeart/2018/2/layout/IconLabelList"/>
    <dgm:cxn modelId="{C18D5CC5-1540-45FB-B413-B556DB29F950}" type="presParOf" srcId="{E16C2583-07A6-4176-A05B-D04F84A9F882}" destId="{ED491E93-4800-478B-AB68-92D4A8775C05}" srcOrd="4" destOrd="0" presId="urn:microsoft.com/office/officeart/2018/2/layout/IconLabelList"/>
    <dgm:cxn modelId="{8C6424A3-8B13-4599-8387-78F9CE9877CF}" type="presParOf" srcId="{ED491E93-4800-478B-AB68-92D4A8775C05}" destId="{AD9AB47E-EE0C-4B0F-9D8B-E9A55EC53F79}" srcOrd="0" destOrd="0" presId="urn:microsoft.com/office/officeart/2018/2/layout/IconLabelList"/>
    <dgm:cxn modelId="{6251045C-89E9-4676-822E-7C913EF6F901}" type="presParOf" srcId="{ED491E93-4800-478B-AB68-92D4A8775C05}" destId="{EBC36042-8C38-4ADD-A9D1-374E17CBE3F1}" srcOrd="1" destOrd="0" presId="urn:microsoft.com/office/officeart/2018/2/layout/IconLabelList"/>
    <dgm:cxn modelId="{222326EA-4748-4A40-8DB8-0BBFD796D85F}" type="presParOf" srcId="{ED491E93-4800-478B-AB68-92D4A8775C05}" destId="{1F7A5B48-47EE-49D9-A55A-98D58C84765B}" srcOrd="2" destOrd="0" presId="urn:microsoft.com/office/officeart/2018/2/layout/IconLabelList"/>
    <dgm:cxn modelId="{A8254DE8-C54D-4BAA-A9AA-F41B41F58AB3}" type="presParOf" srcId="{E16C2583-07A6-4176-A05B-D04F84A9F882}" destId="{C11B9AA0-E30C-4D78-8114-8B102820718A}" srcOrd="5" destOrd="0" presId="urn:microsoft.com/office/officeart/2018/2/layout/IconLabelList"/>
    <dgm:cxn modelId="{53982468-764E-4E7C-8BF1-9B0E9891B6A7}" type="presParOf" srcId="{E16C2583-07A6-4176-A05B-D04F84A9F882}" destId="{3B293D44-7395-4A45-BB3A-8C9DEFB531D8}" srcOrd="6" destOrd="0" presId="urn:microsoft.com/office/officeart/2018/2/layout/IconLabelList"/>
    <dgm:cxn modelId="{6A1169D0-573A-45BE-A721-96B371492122}" type="presParOf" srcId="{3B293D44-7395-4A45-BB3A-8C9DEFB531D8}" destId="{B0D50248-97B6-43AB-970F-A22280BC80D2}" srcOrd="0" destOrd="0" presId="urn:microsoft.com/office/officeart/2018/2/layout/IconLabelList"/>
    <dgm:cxn modelId="{4B60676B-F9B3-4249-B634-D55FBD26C1BC}" type="presParOf" srcId="{3B293D44-7395-4A45-BB3A-8C9DEFB531D8}" destId="{2416D62A-477E-471E-AF69-66B5AF89F522}" srcOrd="1" destOrd="0" presId="urn:microsoft.com/office/officeart/2018/2/layout/IconLabelList"/>
    <dgm:cxn modelId="{0113A81C-A136-4BFD-BAD7-2291D8647BA9}" type="presParOf" srcId="{3B293D44-7395-4A45-BB3A-8C9DEFB531D8}" destId="{EBDC3FA8-DD0A-4CE3-A11F-725F9C312AD2}" srcOrd="2" destOrd="0" presId="urn:microsoft.com/office/officeart/2018/2/layout/IconLabelList"/>
    <dgm:cxn modelId="{01702618-C729-4D87-BB16-89DCF76DCDAF}" type="presParOf" srcId="{E16C2583-07A6-4176-A05B-D04F84A9F882}" destId="{A844F031-8177-4214-AA70-8C929B0C1361}" srcOrd="7" destOrd="0" presId="urn:microsoft.com/office/officeart/2018/2/layout/IconLabelList"/>
    <dgm:cxn modelId="{EBD14961-4FE0-4777-9B32-A4BD805E5ECA}" type="presParOf" srcId="{E16C2583-07A6-4176-A05B-D04F84A9F882}" destId="{A38EB101-E54F-4D2F-9D83-F3243D77B960}" srcOrd="8" destOrd="0" presId="urn:microsoft.com/office/officeart/2018/2/layout/IconLabelList"/>
    <dgm:cxn modelId="{55D0517C-5C8F-4122-842A-54DA731419F1}" type="presParOf" srcId="{A38EB101-E54F-4D2F-9D83-F3243D77B960}" destId="{9348BEFC-0AA2-4A20-946B-1AFF799A5E15}" srcOrd="0" destOrd="0" presId="urn:microsoft.com/office/officeart/2018/2/layout/IconLabelList"/>
    <dgm:cxn modelId="{01B45329-76A8-483C-8BD3-9B026552955A}" type="presParOf" srcId="{A38EB101-E54F-4D2F-9D83-F3243D77B960}" destId="{CA786B99-F7A0-438F-9477-38985233A4C3}" srcOrd="1" destOrd="0" presId="urn:microsoft.com/office/officeart/2018/2/layout/IconLabelList"/>
    <dgm:cxn modelId="{E26A7A88-9E0E-43BD-A4D2-E080FAEC8055}" type="presParOf" srcId="{A38EB101-E54F-4D2F-9D83-F3243D77B960}" destId="{1A9F37AE-95D4-430E-8666-4D2E793D049C}" srcOrd="2" destOrd="0" presId="urn:microsoft.com/office/officeart/2018/2/layout/Icon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2866B64-18FD-40A5-9418-DF81A576F81D}" type="doc">
      <dgm:prSet loTypeId="urn:microsoft.com/office/officeart/2005/8/layout/vProcess5" loCatId="process" qsTypeId="urn:microsoft.com/office/officeart/2005/8/quickstyle/3d1" qsCatId="3D" csTypeId="urn:microsoft.com/office/officeart/2005/8/colors/accent2_3" csCatId="accent2"/>
      <dgm:spPr/>
      <dgm:t>
        <a:bodyPr/>
        <a:lstStyle/>
        <a:p>
          <a:endParaRPr lang="es-ES"/>
        </a:p>
      </dgm:t>
    </dgm:pt>
    <dgm:pt modelId="{4F284F93-D752-41EF-945E-872643412858}">
      <dgm:prSet/>
      <dgm:spPr>
        <a:xfrm>
          <a:off x="0" y="0"/>
          <a:ext cx="5273479" cy="1379738"/>
        </a:xfrm>
        <a:prstGeom prst="roundRect">
          <a:avLst>
            <a:gd name="adj" fmla="val 10000"/>
          </a:avLst>
        </a:prstGeom>
        <a:gradFill rotWithShape="0">
          <a:gsLst>
            <a:gs pos="0">
              <a:srgbClr val="D59617">
                <a:shade val="80000"/>
                <a:hueOff val="0"/>
                <a:satOff val="0"/>
                <a:lumOff val="0"/>
                <a:alphaOff val="0"/>
                <a:shade val="85000"/>
                <a:satMod val="130000"/>
              </a:srgbClr>
            </a:gs>
            <a:gs pos="34000">
              <a:srgbClr val="D59617">
                <a:shade val="80000"/>
                <a:hueOff val="0"/>
                <a:satOff val="0"/>
                <a:lumOff val="0"/>
                <a:alphaOff val="0"/>
                <a:shade val="87000"/>
                <a:satMod val="125000"/>
              </a:srgbClr>
            </a:gs>
            <a:gs pos="70000">
              <a:srgbClr val="D59617">
                <a:shade val="80000"/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rgbClr>
            </a:gs>
            <a:gs pos="100000">
              <a:srgbClr val="D59617">
                <a:shade val="80000"/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rgb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38100" dist="25400" dir="2700000" algn="br" rotWithShape="0">
            <a:srgbClr val="000000">
              <a:alpha val="60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gm:spPr>
      <dgm:t>
        <a:bodyPr/>
        <a:lstStyle/>
        <a:p>
          <a:r>
            <a:rPr lang="en-U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Encuesta</a:t>
          </a:r>
          <a:r>
            <a:rPr lang="en-US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 de necesidades de aprendizaje individual</a:t>
          </a:r>
          <a:endParaRPr lang="es-ES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gm:t>
    </dgm:pt>
    <dgm:pt modelId="{6CCB0C00-D645-4BEA-98BF-D10D874C00DD}" type="parTrans" cxnId="{7C2C507C-6FC1-4DD9-B642-7407AB1A9F77}">
      <dgm:prSet/>
      <dgm:spPr/>
      <dgm:t>
        <a:bodyPr/>
        <a:lstStyle/>
        <a:p>
          <a:endParaRPr lang="es-ES"/>
        </a:p>
      </dgm:t>
    </dgm:pt>
    <dgm:pt modelId="{6AF36DE3-9E5A-47B5-9AF0-2415A04E20F5}" type="sibTrans" cxnId="{7C2C507C-6FC1-4DD9-B642-7407AB1A9F77}">
      <dgm:prSet/>
      <dgm:spPr>
        <a:xfrm>
          <a:off x="4376649" y="1084627"/>
          <a:ext cx="896829" cy="896829"/>
        </a:xfrm>
        <a:prstGeom prst="downArrow">
          <a:avLst>
            <a:gd name="adj1" fmla="val 55000"/>
            <a:gd name="adj2" fmla="val 45000"/>
          </a:avLst>
        </a:prstGeom>
        <a:solidFill>
          <a:srgbClr val="D59617">
            <a:alpha val="90000"/>
            <a:tint val="4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D59617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>
          <a:outerShdw blurRad="38100" dist="25400" dir="2700000" algn="br" rotWithShape="0">
            <a:srgbClr val="000000">
              <a:alpha val="60000"/>
            </a:srgbClr>
          </a:outerShdw>
        </a:effectLst>
        <a:scene3d>
          <a:camera prst="orthographicFront"/>
          <a:lightRig rig="flat" dir="t"/>
        </a:scene3d>
        <a:sp3d z="190500" extrusionH="12700" prstMaterial="plastic">
          <a:bevelT w="50800" h="50800"/>
        </a:sp3d>
      </dgm:spPr>
      <dgm:t>
        <a:bodyPr/>
        <a:lstStyle/>
        <a:p>
          <a:endParaRPr lang="es-ES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Tw Cen MT" panose="020F0502020204030204"/>
            <a:ea typeface="+mn-ea"/>
            <a:cs typeface="+mn-cs"/>
          </a:endParaRPr>
        </a:p>
      </dgm:t>
    </dgm:pt>
    <dgm:pt modelId="{7F35919D-61BF-40AC-8808-AA7C22E77563}">
      <dgm:prSet/>
      <dgm:spPr>
        <a:xfrm>
          <a:off x="930613" y="1686346"/>
          <a:ext cx="5273479" cy="1379738"/>
        </a:xfrm>
        <a:prstGeom prst="roundRect">
          <a:avLst>
            <a:gd name="adj" fmla="val 10000"/>
          </a:avLst>
        </a:prstGeom>
        <a:gradFill rotWithShape="0">
          <a:gsLst>
            <a:gs pos="0">
              <a:srgbClr val="D59617">
                <a:shade val="80000"/>
                <a:hueOff val="-544723"/>
                <a:satOff val="-23989"/>
                <a:lumOff val="32225"/>
                <a:alphaOff val="0"/>
                <a:shade val="85000"/>
                <a:satMod val="130000"/>
              </a:srgbClr>
            </a:gs>
            <a:gs pos="34000">
              <a:srgbClr val="D59617">
                <a:shade val="80000"/>
                <a:hueOff val="-544723"/>
                <a:satOff val="-23989"/>
                <a:lumOff val="32225"/>
                <a:alphaOff val="0"/>
                <a:shade val="87000"/>
                <a:satMod val="125000"/>
              </a:srgbClr>
            </a:gs>
            <a:gs pos="70000">
              <a:srgbClr val="D59617">
                <a:shade val="80000"/>
                <a:hueOff val="-544723"/>
                <a:satOff val="-23989"/>
                <a:lumOff val="32225"/>
                <a:alphaOff val="0"/>
                <a:tint val="100000"/>
                <a:shade val="90000"/>
                <a:satMod val="130000"/>
              </a:srgbClr>
            </a:gs>
            <a:gs pos="100000">
              <a:srgbClr val="D59617">
                <a:shade val="80000"/>
                <a:hueOff val="-544723"/>
                <a:satOff val="-23989"/>
                <a:lumOff val="32225"/>
                <a:alphaOff val="0"/>
                <a:tint val="100000"/>
                <a:shade val="100000"/>
                <a:satMod val="110000"/>
              </a:srgb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38100" dist="25400" dir="2700000" algn="br" rotWithShape="0">
            <a:srgbClr val="000000">
              <a:alpha val="60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gm:spPr>
      <dgm:t>
        <a:bodyPr/>
        <a:lstStyle/>
        <a:p>
          <a:pPr rtl="0"/>
          <a:r>
            <a:rPr lang="en-US" b="1" dirty="0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28 </a:t>
          </a:r>
          <a:r>
            <a:rPr lang="en-US" b="1" dirty="0" err="1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lineas</a:t>
          </a:r>
          <a:r>
            <a:rPr lang="en-US" b="1" dirty="0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 de </a:t>
          </a:r>
          <a:r>
            <a:rPr lang="en-US" b="1" dirty="0" err="1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conocimiento</a:t>
          </a:r>
          <a:r>
            <a:rPr lang="en-US" b="1" dirty="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 </a:t>
          </a:r>
          <a:r>
            <a:rPr lang="en-US" b="1" dirty="0" err="1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consultadas</a:t>
          </a:r>
          <a:endParaRPr lang="es-ES" dirty="0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gm:t>
    </dgm:pt>
    <dgm:pt modelId="{8BE8BBC0-F1BA-4BA3-937A-10B042CBF8AF}" type="parTrans" cxnId="{5A81A1E9-86FD-4100-BB51-72DF261F73C2}">
      <dgm:prSet/>
      <dgm:spPr/>
      <dgm:t>
        <a:bodyPr/>
        <a:lstStyle/>
        <a:p>
          <a:endParaRPr lang="es-ES"/>
        </a:p>
      </dgm:t>
    </dgm:pt>
    <dgm:pt modelId="{9F9F3D7F-743F-4E95-B7AF-521E3586819D}" type="sibTrans" cxnId="{5A81A1E9-86FD-4100-BB51-72DF261F73C2}">
      <dgm:prSet/>
      <dgm:spPr/>
      <dgm:t>
        <a:bodyPr/>
        <a:lstStyle/>
        <a:p>
          <a:endParaRPr lang="es-ES"/>
        </a:p>
      </dgm:t>
    </dgm:pt>
    <dgm:pt modelId="{7EE525A7-17D1-4847-99CB-86257D7E6268}" type="pres">
      <dgm:prSet presAssocID="{62866B64-18FD-40A5-9418-DF81A576F81D}" presName="outerComposite" presStyleCnt="0">
        <dgm:presLayoutVars>
          <dgm:chMax val="5"/>
          <dgm:dir/>
          <dgm:resizeHandles val="exact"/>
        </dgm:presLayoutVars>
      </dgm:prSet>
      <dgm:spPr/>
    </dgm:pt>
    <dgm:pt modelId="{58285F0E-756A-4EFF-B837-FE9048C62327}" type="pres">
      <dgm:prSet presAssocID="{62866B64-18FD-40A5-9418-DF81A576F81D}" presName="dummyMaxCanvas" presStyleCnt="0">
        <dgm:presLayoutVars/>
      </dgm:prSet>
      <dgm:spPr/>
    </dgm:pt>
    <dgm:pt modelId="{5D3EDF1B-5E6C-4DDC-B74C-1E58315D5E9C}" type="pres">
      <dgm:prSet presAssocID="{62866B64-18FD-40A5-9418-DF81A576F81D}" presName="TwoNodes_1" presStyleLbl="node1" presStyleIdx="0" presStyleCnt="2">
        <dgm:presLayoutVars>
          <dgm:bulletEnabled val="1"/>
        </dgm:presLayoutVars>
      </dgm:prSet>
      <dgm:spPr/>
    </dgm:pt>
    <dgm:pt modelId="{54563F58-1DB7-4B60-9053-C4F845816888}" type="pres">
      <dgm:prSet presAssocID="{62866B64-18FD-40A5-9418-DF81A576F81D}" presName="TwoNodes_2" presStyleLbl="node1" presStyleIdx="1" presStyleCnt="2">
        <dgm:presLayoutVars>
          <dgm:bulletEnabled val="1"/>
        </dgm:presLayoutVars>
      </dgm:prSet>
      <dgm:spPr/>
    </dgm:pt>
    <dgm:pt modelId="{3A830E3D-0B77-4F34-8062-707329B05AA6}" type="pres">
      <dgm:prSet presAssocID="{62866B64-18FD-40A5-9418-DF81A576F81D}" presName="TwoConn_1-2" presStyleLbl="fgAccFollowNode1" presStyleIdx="0" presStyleCnt="1">
        <dgm:presLayoutVars>
          <dgm:bulletEnabled val="1"/>
        </dgm:presLayoutVars>
      </dgm:prSet>
      <dgm:spPr/>
    </dgm:pt>
    <dgm:pt modelId="{41441AE1-7101-47EF-8C72-8392AECDD8D1}" type="pres">
      <dgm:prSet presAssocID="{62866B64-18FD-40A5-9418-DF81A576F81D}" presName="TwoNodes_1_text" presStyleLbl="node1" presStyleIdx="1" presStyleCnt="2">
        <dgm:presLayoutVars>
          <dgm:bulletEnabled val="1"/>
        </dgm:presLayoutVars>
      </dgm:prSet>
      <dgm:spPr/>
    </dgm:pt>
    <dgm:pt modelId="{40D2AF26-0F7D-417D-9C7F-76A19AD9E004}" type="pres">
      <dgm:prSet presAssocID="{62866B64-18FD-40A5-9418-DF81A576F81D}" presName="TwoNodes_2_text" presStyleLbl="node1" presStyleIdx="1" presStyleCnt="2">
        <dgm:presLayoutVars>
          <dgm:bulletEnabled val="1"/>
        </dgm:presLayoutVars>
      </dgm:prSet>
      <dgm:spPr/>
    </dgm:pt>
  </dgm:ptLst>
  <dgm:cxnLst>
    <dgm:cxn modelId="{28C09601-34F6-49A9-8AF4-FF63A60C0850}" type="presOf" srcId="{7F35919D-61BF-40AC-8808-AA7C22E77563}" destId="{54563F58-1DB7-4B60-9053-C4F845816888}" srcOrd="0" destOrd="0" presId="urn:microsoft.com/office/officeart/2005/8/layout/vProcess5"/>
    <dgm:cxn modelId="{6044FD14-8302-4374-991A-B381B2B8EC30}" type="presOf" srcId="{6AF36DE3-9E5A-47B5-9AF0-2415A04E20F5}" destId="{3A830E3D-0B77-4F34-8062-707329B05AA6}" srcOrd="0" destOrd="0" presId="urn:microsoft.com/office/officeart/2005/8/layout/vProcess5"/>
    <dgm:cxn modelId="{86B00D30-4D93-4AF8-956D-FEA364196E63}" type="presOf" srcId="{7F35919D-61BF-40AC-8808-AA7C22E77563}" destId="{40D2AF26-0F7D-417D-9C7F-76A19AD9E004}" srcOrd="1" destOrd="0" presId="urn:microsoft.com/office/officeart/2005/8/layout/vProcess5"/>
    <dgm:cxn modelId="{336EDB3D-EA4E-4E11-831C-E8371A27C272}" type="presOf" srcId="{4F284F93-D752-41EF-945E-872643412858}" destId="{5D3EDF1B-5E6C-4DDC-B74C-1E58315D5E9C}" srcOrd="0" destOrd="0" presId="urn:microsoft.com/office/officeart/2005/8/layout/vProcess5"/>
    <dgm:cxn modelId="{45BE514F-7247-4F44-8D5B-27C9CD642590}" type="presOf" srcId="{4F284F93-D752-41EF-945E-872643412858}" destId="{41441AE1-7101-47EF-8C72-8392AECDD8D1}" srcOrd="1" destOrd="0" presId="urn:microsoft.com/office/officeart/2005/8/layout/vProcess5"/>
    <dgm:cxn modelId="{7C2C507C-6FC1-4DD9-B642-7407AB1A9F77}" srcId="{62866B64-18FD-40A5-9418-DF81A576F81D}" destId="{4F284F93-D752-41EF-945E-872643412858}" srcOrd="0" destOrd="0" parTransId="{6CCB0C00-D645-4BEA-98BF-D10D874C00DD}" sibTransId="{6AF36DE3-9E5A-47B5-9AF0-2415A04E20F5}"/>
    <dgm:cxn modelId="{A6A5B29B-95A2-47CA-B6B8-767645961321}" type="presOf" srcId="{62866B64-18FD-40A5-9418-DF81A576F81D}" destId="{7EE525A7-17D1-4847-99CB-86257D7E6268}" srcOrd="0" destOrd="0" presId="urn:microsoft.com/office/officeart/2005/8/layout/vProcess5"/>
    <dgm:cxn modelId="{5A81A1E9-86FD-4100-BB51-72DF261F73C2}" srcId="{62866B64-18FD-40A5-9418-DF81A576F81D}" destId="{7F35919D-61BF-40AC-8808-AA7C22E77563}" srcOrd="1" destOrd="0" parTransId="{8BE8BBC0-F1BA-4BA3-937A-10B042CBF8AF}" sibTransId="{9F9F3D7F-743F-4E95-B7AF-521E3586819D}"/>
    <dgm:cxn modelId="{9A3D3CDC-49A6-4D6E-971F-FA62D172BDCA}" type="presParOf" srcId="{7EE525A7-17D1-4847-99CB-86257D7E6268}" destId="{58285F0E-756A-4EFF-B837-FE9048C62327}" srcOrd="0" destOrd="0" presId="urn:microsoft.com/office/officeart/2005/8/layout/vProcess5"/>
    <dgm:cxn modelId="{38DF3E93-EAB7-4F54-A6F4-4D39F5870097}" type="presParOf" srcId="{7EE525A7-17D1-4847-99CB-86257D7E6268}" destId="{5D3EDF1B-5E6C-4DDC-B74C-1E58315D5E9C}" srcOrd="1" destOrd="0" presId="urn:microsoft.com/office/officeart/2005/8/layout/vProcess5"/>
    <dgm:cxn modelId="{77924239-48D7-4EF4-AFF6-FBB96EBC00A2}" type="presParOf" srcId="{7EE525A7-17D1-4847-99CB-86257D7E6268}" destId="{54563F58-1DB7-4B60-9053-C4F845816888}" srcOrd="2" destOrd="0" presId="urn:microsoft.com/office/officeart/2005/8/layout/vProcess5"/>
    <dgm:cxn modelId="{07BD2ADE-6829-4E37-B37C-8F11ADED82E0}" type="presParOf" srcId="{7EE525A7-17D1-4847-99CB-86257D7E6268}" destId="{3A830E3D-0B77-4F34-8062-707329B05AA6}" srcOrd="3" destOrd="0" presId="urn:microsoft.com/office/officeart/2005/8/layout/vProcess5"/>
    <dgm:cxn modelId="{E745404E-59D8-44F7-883C-B82942607A95}" type="presParOf" srcId="{7EE525A7-17D1-4847-99CB-86257D7E6268}" destId="{41441AE1-7101-47EF-8C72-8392AECDD8D1}" srcOrd="4" destOrd="0" presId="urn:microsoft.com/office/officeart/2005/8/layout/vProcess5"/>
    <dgm:cxn modelId="{EC725B8A-ABB3-4E0D-9E93-1F406E8532E0}" type="presParOf" srcId="{7EE525A7-17D1-4847-99CB-86257D7E6268}" destId="{40D2AF26-0F7D-417D-9C7F-76A19AD9E004}" srcOrd="5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FF5413F-736C-414A-9B7A-68FCBC233727}" type="doc">
      <dgm:prSet loTypeId="urn:microsoft.com/office/officeart/2005/8/layout/defaul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84AEB58D-5402-4781-8F3C-DF577D4A4AC7}">
      <dgm:prSet/>
      <dgm:spPr>
        <a:xfrm>
          <a:off x="307337" y="1759"/>
          <a:ext cx="2070997" cy="1242598"/>
        </a:xfrm>
        <a:prstGeom prst="rect">
          <a:avLst/>
        </a:prstGeom>
        <a:solidFill>
          <a:srgbClr val="D59617">
            <a:hueOff val="0"/>
            <a:satOff val="0"/>
            <a:lumOff val="0"/>
            <a:alphaOff val="0"/>
          </a:srgbClr>
        </a:solidFill>
        <a:ln w="1587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1. Plan</a:t>
          </a:r>
          <a:r>
            <a:rPr lang="es-ES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 Nacional de Desarrollo        </a:t>
          </a:r>
          <a:endParaRPr lang="en-US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gm:t>
    </dgm:pt>
    <dgm:pt modelId="{F5455D6D-C5BC-4401-8B76-3E8068A28DA4}" type="parTrans" cxnId="{B2CEFE0A-2CC2-4C56-B236-AB79FBBC7DC9}">
      <dgm:prSet/>
      <dgm:spPr/>
      <dgm:t>
        <a:bodyPr/>
        <a:lstStyle/>
        <a:p>
          <a:endParaRPr lang="en-US"/>
        </a:p>
      </dgm:t>
    </dgm:pt>
    <dgm:pt modelId="{F662A113-81D7-482E-B113-FE57F6D6C14A}" type="sibTrans" cxnId="{B2CEFE0A-2CC2-4C56-B236-AB79FBBC7DC9}">
      <dgm:prSet/>
      <dgm:spPr/>
      <dgm:t>
        <a:bodyPr/>
        <a:lstStyle/>
        <a:p>
          <a:endParaRPr lang="en-US"/>
        </a:p>
      </dgm:t>
    </dgm:pt>
    <dgm:pt modelId="{011DF080-0349-4951-A03B-259862CA001E}">
      <dgm:prSet/>
      <dgm:spPr>
        <a:xfrm>
          <a:off x="2585434" y="1759"/>
          <a:ext cx="2070997" cy="1242598"/>
        </a:xfrm>
        <a:prstGeom prst="rect">
          <a:avLst/>
        </a:prstGeom>
        <a:solidFill>
          <a:srgbClr val="9EAA1E">
            <a:hueOff val="0"/>
            <a:satOff val="0"/>
            <a:lumOff val="0"/>
            <a:alphaOff val="0"/>
          </a:srgbClr>
        </a:solidFill>
        <a:ln w="1587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2. Políticas </a:t>
          </a:r>
          <a:r>
            <a:rPr lang="es-ES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gubernamentales para el sector transporte</a:t>
          </a:r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 </a:t>
          </a:r>
          <a:endParaRPr lang="en-US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gm:t>
    </dgm:pt>
    <dgm:pt modelId="{7E8B4C24-4633-41E6-97ED-514E6E160D13}" type="parTrans" cxnId="{7986B5EF-592A-4122-B451-C646279EADF0}">
      <dgm:prSet/>
      <dgm:spPr/>
      <dgm:t>
        <a:bodyPr/>
        <a:lstStyle/>
        <a:p>
          <a:endParaRPr lang="en-US"/>
        </a:p>
      </dgm:t>
    </dgm:pt>
    <dgm:pt modelId="{55A8284F-C16B-4AEE-8B9B-C19EE39D673F}" type="sibTrans" cxnId="{7986B5EF-592A-4122-B451-C646279EADF0}">
      <dgm:prSet/>
      <dgm:spPr/>
      <dgm:t>
        <a:bodyPr/>
        <a:lstStyle/>
        <a:p>
          <a:endParaRPr lang="en-US"/>
        </a:p>
      </dgm:t>
    </dgm:pt>
    <dgm:pt modelId="{806D8F6C-7AB2-4608-BE8D-0EADAE019B73}">
      <dgm:prSet/>
      <dgm:spPr>
        <a:xfrm>
          <a:off x="4863531" y="1759"/>
          <a:ext cx="2070997" cy="1242598"/>
        </a:xfrm>
        <a:prstGeom prst="rect">
          <a:avLst/>
        </a:prstGeom>
        <a:solidFill>
          <a:srgbClr val="64B614">
            <a:hueOff val="0"/>
            <a:satOff val="0"/>
            <a:lumOff val="0"/>
            <a:alphaOff val="0"/>
          </a:srgbClr>
        </a:solidFill>
        <a:ln w="1587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3. </a:t>
          </a:r>
          <a:r>
            <a:rPr lang="es-ES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Estrategias de comunicación interna y externa</a:t>
          </a:r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 </a:t>
          </a:r>
          <a:endParaRPr lang="en-US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gm:t>
    </dgm:pt>
    <dgm:pt modelId="{1958D492-2F19-4E03-BFB0-E33CA13AE860}" type="parTrans" cxnId="{9CB26E3C-E720-4C3D-AEC4-9B1996A7013B}">
      <dgm:prSet/>
      <dgm:spPr/>
      <dgm:t>
        <a:bodyPr/>
        <a:lstStyle/>
        <a:p>
          <a:endParaRPr lang="en-US"/>
        </a:p>
      </dgm:t>
    </dgm:pt>
    <dgm:pt modelId="{5B0FC4E8-CBC4-40DA-A7B9-5A9D6FF4D909}" type="sibTrans" cxnId="{9CB26E3C-E720-4C3D-AEC4-9B1996A7013B}">
      <dgm:prSet/>
      <dgm:spPr/>
      <dgm:t>
        <a:bodyPr/>
        <a:lstStyle/>
        <a:p>
          <a:endParaRPr lang="en-US"/>
        </a:p>
      </dgm:t>
    </dgm:pt>
    <dgm:pt modelId="{66B25C37-CE37-46D4-B9C1-686242621F77}">
      <dgm:prSet/>
      <dgm:spPr>
        <a:xfrm>
          <a:off x="7141628" y="1759"/>
          <a:ext cx="2070997" cy="1242598"/>
        </a:xfrm>
        <a:prstGeom prst="rect">
          <a:avLst/>
        </a:prstGeom>
        <a:solidFill>
          <a:srgbClr val="2DBA21">
            <a:hueOff val="0"/>
            <a:satOff val="0"/>
            <a:lumOff val="0"/>
            <a:alphaOff val="0"/>
          </a:srgbClr>
        </a:solidFill>
        <a:ln w="1587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4. Contratación </a:t>
          </a:r>
          <a:r>
            <a:rPr lang="es-ES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Estatal      </a:t>
          </a:r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 </a:t>
          </a:r>
          <a:endParaRPr lang="en-US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gm:t>
    </dgm:pt>
    <dgm:pt modelId="{2C1BC0AB-3AD7-4BA8-A6DE-42CE0DEF9369}" type="parTrans" cxnId="{05A712DB-EB16-49C3-9923-7DF7116E2AA1}">
      <dgm:prSet/>
      <dgm:spPr/>
      <dgm:t>
        <a:bodyPr/>
        <a:lstStyle/>
        <a:p>
          <a:endParaRPr lang="en-US"/>
        </a:p>
      </dgm:t>
    </dgm:pt>
    <dgm:pt modelId="{EEC1EE5C-CBF0-4451-9B12-4707003AFA97}" type="sibTrans" cxnId="{05A712DB-EB16-49C3-9923-7DF7116E2AA1}">
      <dgm:prSet/>
      <dgm:spPr/>
      <dgm:t>
        <a:bodyPr/>
        <a:lstStyle/>
        <a:p>
          <a:endParaRPr lang="en-US"/>
        </a:p>
      </dgm:t>
    </dgm:pt>
    <dgm:pt modelId="{8EC10091-3ABF-4AB4-96E6-11794B699855}">
      <dgm:prSet/>
      <dgm:spPr>
        <a:xfrm>
          <a:off x="9419725" y="1759"/>
          <a:ext cx="2070997" cy="1242598"/>
        </a:xfrm>
        <a:prstGeom prst="rect">
          <a:avLst/>
        </a:prstGeom>
        <a:solidFill>
          <a:srgbClr val="14B94C">
            <a:hueOff val="0"/>
            <a:satOff val="0"/>
            <a:lumOff val="0"/>
            <a:alphaOff val="0"/>
          </a:srgbClr>
        </a:solidFill>
        <a:ln w="1587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5. Planeación </a:t>
          </a:r>
          <a:r>
            <a:rPr lang="es-ES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institucional</a:t>
          </a:r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 </a:t>
          </a:r>
          <a:endParaRPr lang="en-US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gm:t>
    </dgm:pt>
    <dgm:pt modelId="{3636D8DC-9693-4DDD-BAD5-45C0BA9F2FB5}" type="parTrans" cxnId="{CAE441AB-A801-44E1-9941-F9F402D46D89}">
      <dgm:prSet/>
      <dgm:spPr/>
      <dgm:t>
        <a:bodyPr/>
        <a:lstStyle/>
        <a:p>
          <a:endParaRPr lang="en-US"/>
        </a:p>
      </dgm:t>
    </dgm:pt>
    <dgm:pt modelId="{AE0C4F34-DEE4-4D9B-B176-E0DA6E101D57}" type="sibTrans" cxnId="{CAE441AB-A801-44E1-9941-F9F402D46D89}">
      <dgm:prSet/>
      <dgm:spPr/>
      <dgm:t>
        <a:bodyPr/>
        <a:lstStyle/>
        <a:p>
          <a:endParaRPr lang="en-US"/>
        </a:p>
      </dgm:t>
    </dgm:pt>
    <dgm:pt modelId="{23F8515C-6185-4A5D-B7D5-85E69F050E6A}">
      <dgm:prSet/>
      <dgm:spPr>
        <a:xfrm>
          <a:off x="307337" y="1451457"/>
          <a:ext cx="2070997" cy="1242598"/>
        </a:xfrm>
        <a:prstGeom prst="rect">
          <a:avLst/>
        </a:prstGeom>
        <a:solidFill>
          <a:srgbClr val="D59617">
            <a:hueOff val="0"/>
            <a:satOff val="0"/>
            <a:lumOff val="0"/>
            <a:alphaOff val="0"/>
          </a:srgbClr>
        </a:solidFill>
        <a:ln w="1587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6. </a:t>
          </a:r>
          <a:r>
            <a:rPr lang="es-ES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Tecnologías de la información  </a:t>
          </a:r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 </a:t>
          </a:r>
          <a:endParaRPr lang="en-US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gm:t>
    </dgm:pt>
    <dgm:pt modelId="{9B4AFD26-CE2B-4061-873E-E56D4C8405C1}" type="parTrans" cxnId="{335E0238-7EDE-4FDE-8F0E-4674A5EDC429}">
      <dgm:prSet/>
      <dgm:spPr/>
      <dgm:t>
        <a:bodyPr/>
        <a:lstStyle/>
        <a:p>
          <a:endParaRPr lang="en-US"/>
        </a:p>
      </dgm:t>
    </dgm:pt>
    <dgm:pt modelId="{DF843998-63F3-4F33-A167-FACE54243382}" type="sibTrans" cxnId="{335E0238-7EDE-4FDE-8F0E-4674A5EDC429}">
      <dgm:prSet/>
      <dgm:spPr/>
      <dgm:t>
        <a:bodyPr/>
        <a:lstStyle/>
        <a:p>
          <a:endParaRPr lang="en-US"/>
        </a:p>
      </dgm:t>
    </dgm:pt>
    <dgm:pt modelId="{CDE3AA26-6832-4912-8147-B6CE653F2953}">
      <dgm:prSet/>
      <dgm:spPr>
        <a:xfrm>
          <a:off x="2585434" y="1451457"/>
          <a:ext cx="2070997" cy="1242598"/>
        </a:xfrm>
        <a:prstGeom prst="rect">
          <a:avLst/>
        </a:prstGeom>
        <a:solidFill>
          <a:srgbClr val="9EAA1E">
            <a:hueOff val="0"/>
            <a:satOff val="0"/>
            <a:lumOff val="0"/>
            <a:alphaOff val="0"/>
          </a:srgbClr>
        </a:solidFill>
        <a:ln w="1587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7. Sistema </a:t>
          </a:r>
          <a:r>
            <a:rPr lang="es-ES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integrado de gestión   </a:t>
          </a:r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 </a:t>
          </a:r>
          <a:endParaRPr lang="en-US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gm:t>
    </dgm:pt>
    <dgm:pt modelId="{19812975-02A5-4EB2-AF66-93F3029796BB}" type="parTrans" cxnId="{8AFB002A-A750-47C0-8C7B-05F5F0D94508}">
      <dgm:prSet/>
      <dgm:spPr/>
      <dgm:t>
        <a:bodyPr/>
        <a:lstStyle/>
        <a:p>
          <a:endParaRPr lang="en-US"/>
        </a:p>
      </dgm:t>
    </dgm:pt>
    <dgm:pt modelId="{3DAD2B85-A918-49AD-BD46-ADC0AA3BCAD0}" type="sibTrans" cxnId="{8AFB002A-A750-47C0-8C7B-05F5F0D94508}">
      <dgm:prSet/>
      <dgm:spPr/>
      <dgm:t>
        <a:bodyPr/>
        <a:lstStyle/>
        <a:p>
          <a:endParaRPr lang="en-US"/>
        </a:p>
      </dgm:t>
    </dgm:pt>
    <dgm:pt modelId="{B66E02AB-5474-4271-9554-9F3ABEEFE86F}">
      <dgm:prSet/>
      <dgm:spPr>
        <a:xfrm>
          <a:off x="4863531" y="1451457"/>
          <a:ext cx="2070997" cy="1242598"/>
        </a:xfrm>
        <a:prstGeom prst="rect">
          <a:avLst/>
        </a:prstGeom>
        <a:solidFill>
          <a:srgbClr val="64B614">
            <a:hueOff val="0"/>
            <a:satOff val="0"/>
            <a:lumOff val="0"/>
            <a:alphaOff val="0"/>
          </a:srgbClr>
        </a:solidFill>
        <a:ln w="1587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8. Auditorias </a:t>
          </a:r>
          <a:r>
            <a:rPr lang="es-ES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de calidad    </a:t>
          </a:r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 </a:t>
          </a:r>
          <a:endParaRPr lang="en-US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gm:t>
    </dgm:pt>
    <dgm:pt modelId="{EEA55B43-2045-4CB8-A5D4-4D3CA5C796A6}" type="parTrans" cxnId="{19F13268-788A-45D2-8AD7-63AED721A6B9}">
      <dgm:prSet/>
      <dgm:spPr/>
      <dgm:t>
        <a:bodyPr/>
        <a:lstStyle/>
        <a:p>
          <a:endParaRPr lang="en-US"/>
        </a:p>
      </dgm:t>
    </dgm:pt>
    <dgm:pt modelId="{1A1F77BD-3211-4796-9698-BC29545ABC7E}" type="sibTrans" cxnId="{19F13268-788A-45D2-8AD7-63AED721A6B9}">
      <dgm:prSet/>
      <dgm:spPr/>
      <dgm:t>
        <a:bodyPr/>
        <a:lstStyle/>
        <a:p>
          <a:endParaRPr lang="en-US"/>
        </a:p>
      </dgm:t>
    </dgm:pt>
    <dgm:pt modelId="{B97FFF74-86D4-44A1-92C2-25354AEB9337}">
      <dgm:prSet/>
      <dgm:spPr>
        <a:xfrm>
          <a:off x="7141628" y="1451457"/>
          <a:ext cx="2070997" cy="1242598"/>
        </a:xfrm>
        <a:prstGeom prst="rect">
          <a:avLst/>
        </a:prstGeom>
        <a:solidFill>
          <a:srgbClr val="2DBA21">
            <a:hueOff val="0"/>
            <a:satOff val="0"/>
            <a:lumOff val="0"/>
            <a:alphaOff val="0"/>
          </a:srgbClr>
        </a:solidFill>
        <a:ln w="1587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9. Plan </a:t>
          </a:r>
          <a:r>
            <a:rPr lang="es-ES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de emergencias en infraestructura             </a:t>
          </a:r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 </a:t>
          </a:r>
          <a:endParaRPr lang="en-US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gm:t>
    </dgm:pt>
    <dgm:pt modelId="{63734BBA-B881-4FA8-A39D-D48BF1CCDE05}" type="parTrans" cxnId="{423C7EB4-EE73-49A3-B98D-F8A39CB093A7}">
      <dgm:prSet/>
      <dgm:spPr/>
      <dgm:t>
        <a:bodyPr/>
        <a:lstStyle/>
        <a:p>
          <a:endParaRPr lang="en-US"/>
        </a:p>
      </dgm:t>
    </dgm:pt>
    <dgm:pt modelId="{CE064C28-8A47-4720-A25B-7EE0776E7B33}" type="sibTrans" cxnId="{423C7EB4-EE73-49A3-B98D-F8A39CB093A7}">
      <dgm:prSet/>
      <dgm:spPr/>
      <dgm:t>
        <a:bodyPr/>
        <a:lstStyle/>
        <a:p>
          <a:endParaRPr lang="en-US"/>
        </a:p>
      </dgm:t>
    </dgm:pt>
    <dgm:pt modelId="{4A06E68A-CF17-49A0-A238-E567ABAB16D4}">
      <dgm:prSet/>
      <dgm:spPr>
        <a:xfrm>
          <a:off x="9419725" y="1451457"/>
          <a:ext cx="2070997" cy="1242598"/>
        </a:xfrm>
        <a:prstGeom prst="rect">
          <a:avLst/>
        </a:prstGeom>
        <a:solidFill>
          <a:srgbClr val="14B94C">
            <a:hueOff val="0"/>
            <a:satOff val="0"/>
            <a:lumOff val="0"/>
            <a:alphaOff val="0"/>
          </a:srgbClr>
        </a:solidFill>
        <a:ln w="1587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10. Gestión</a:t>
          </a:r>
          <a:r>
            <a:rPr lang="es-ES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 técnica de </a:t>
          </a:r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vías</a:t>
          </a:r>
          <a:endParaRPr lang="en-US">
            <a:solidFill>
              <a:srgbClr val="FFFFFF"/>
            </a:solidFill>
            <a:latin typeface="Tw Cen MT" panose="020F0302020204030204"/>
            <a:ea typeface="+mn-ea"/>
            <a:cs typeface="+mn-cs"/>
          </a:endParaRPr>
        </a:p>
      </dgm:t>
    </dgm:pt>
    <dgm:pt modelId="{243DC434-266D-4D89-A6DB-3C353B72EF53}" type="parTrans" cxnId="{9A709C31-29A2-4230-8E8B-4875D21245D1}">
      <dgm:prSet/>
      <dgm:spPr/>
      <dgm:t>
        <a:bodyPr/>
        <a:lstStyle/>
        <a:p>
          <a:endParaRPr lang="en-US"/>
        </a:p>
      </dgm:t>
    </dgm:pt>
    <dgm:pt modelId="{0A94CF58-9CC2-4E34-AAFD-7F7FD27EB711}" type="sibTrans" cxnId="{9A709C31-29A2-4230-8E8B-4875D21245D1}">
      <dgm:prSet/>
      <dgm:spPr/>
      <dgm:t>
        <a:bodyPr/>
        <a:lstStyle/>
        <a:p>
          <a:endParaRPr lang="en-US"/>
        </a:p>
      </dgm:t>
    </dgm:pt>
    <dgm:pt modelId="{4D7AD401-6D47-49CB-9971-920A01547F8D}">
      <dgm:prSet/>
      <dgm:spPr>
        <a:xfrm>
          <a:off x="2585434" y="2901155"/>
          <a:ext cx="2070997" cy="1242598"/>
        </a:xfrm>
        <a:prstGeom prst="rect">
          <a:avLst/>
        </a:prstGeom>
        <a:solidFill>
          <a:srgbClr val="9EAA1E">
            <a:hueOff val="0"/>
            <a:satOff val="0"/>
            <a:lumOff val="0"/>
            <a:alphaOff val="0"/>
          </a:srgbClr>
        </a:solidFill>
        <a:ln w="1587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12. Gestión </a:t>
          </a:r>
          <a:r>
            <a:rPr lang="es-ES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territorial          </a:t>
          </a:r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 </a:t>
          </a:r>
          <a:endParaRPr lang="en-US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gm:t>
    </dgm:pt>
    <dgm:pt modelId="{5CEFF8B7-D78F-41B1-B32B-52D7E8E80A10}" type="parTrans" cxnId="{39E2E577-BEFF-465D-BDB8-D24D2068CB29}">
      <dgm:prSet/>
      <dgm:spPr/>
      <dgm:t>
        <a:bodyPr/>
        <a:lstStyle/>
        <a:p>
          <a:endParaRPr lang="en-US"/>
        </a:p>
      </dgm:t>
    </dgm:pt>
    <dgm:pt modelId="{B62A3D98-4B9B-481D-865F-B772C626E25E}" type="sibTrans" cxnId="{39E2E577-BEFF-465D-BDB8-D24D2068CB29}">
      <dgm:prSet/>
      <dgm:spPr/>
      <dgm:t>
        <a:bodyPr/>
        <a:lstStyle/>
        <a:p>
          <a:endParaRPr lang="en-US"/>
        </a:p>
      </dgm:t>
    </dgm:pt>
    <dgm:pt modelId="{E7B9CF88-2491-4858-9C07-27469ECFE222}">
      <dgm:prSet/>
      <dgm:spPr>
        <a:xfrm>
          <a:off x="4863531" y="2901155"/>
          <a:ext cx="2070997" cy="1242598"/>
        </a:xfrm>
        <a:prstGeom prst="rect">
          <a:avLst/>
        </a:prstGeom>
        <a:solidFill>
          <a:srgbClr val="64B614">
            <a:hueOff val="0"/>
            <a:satOff val="0"/>
            <a:lumOff val="0"/>
            <a:alphaOff val="0"/>
          </a:srgbClr>
        </a:solidFill>
        <a:ln w="1587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13. Seguridad </a:t>
          </a:r>
          <a:r>
            <a:rPr lang="es-ES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Vial  </a:t>
          </a:r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 </a:t>
          </a:r>
          <a:endParaRPr lang="en-US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gm:t>
    </dgm:pt>
    <dgm:pt modelId="{123BC2D8-221B-4B88-BDDA-73B393AD353F}" type="parTrans" cxnId="{BD2E91D3-6D46-42A8-995D-3939B3E55D90}">
      <dgm:prSet/>
      <dgm:spPr/>
      <dgm:t>
        <a:bodyPr/>
        <a:lstStyle/>
        <a:p>
          <a:endParaRPr lang="en-US"/>
        </a:p>
      </dgm:t>
    </dgm:pt>
    <dgm:pt modelId="{061BE761-5836-4C8B-A62E-91B85877FBEB}" type="sibTrans" cxnId="{BD2E91D3-6D46-42A8-995D-3939B3E55D90}">
      <dgm:prSet/>
      <dgm:spPr/>
      <dgm:t>
        <a:bodyPr/>
        <a:lstStyle/>
        <a:p>
          <a:endParaRPr lang="en-US"/>
        </a:p>
      </dgm:t>
    </dgm:pt>
    <dgm:pt modelId="{985323A2-5EA3-40C8-90FE-5B4438C316C4}">
      <dgm:prSet/>
      <dgm:spPr>
        <a:xfrm>
          <a:off x="7141628" y="2901155"/>
          <a:ext cx="2070997" cy="1242598"/>
        </a:xfrm>
        <a:prstGeom prst="rect">
          <a:avLst/>
        </a:prstGeom>
        <a:solidFill>
          <a:srgbClr val="2DBA21">
            <a:hueOff val="0"/>
            <a:satOff val="0"/>
            <a:lumOff val="0"/>
            <a:alphaOff val="0"/>
          </a:srgbClr>
        </a:solidFill>
        <a:ln w="1587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14. Gerencia </a:t>
          </a:r>
          <a:r>
            <a:rPr lang="es-ES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de Proyectos</a:t>
          </a:r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 </a:t>
          </a:r>
          <a:endParaRPr lang="en-US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gm:t>
    </dgm:pt>
    <dgm:pt modelId="{8309FDE9-D2E1-4D32-9B9A-DF70FA0F01C7}" type="parTrans" cxnId="{D4DC33D9-D5D7-4AF3-AD66-FB696B3083FC}">
      <dgm:prSet/>
      <dgm:spPr/>
      <dgm:t>
        <a:bodyPr/>
        <a:lstStyle/>
        <a:p>
          <a:endParaRPr lang="en-US"/>
        </a:p>
      </dgm:t>
    </dgm:pt>
    <dgm:pt modelId="{FE0AC138-F605-4DA4-97E7-DB099D208784}" type="sibTrans" cxnId="{D4DC33D9-D5D7-4AF3-AD66-FB696B3083FC}">
      <dgm:prSet/>
      <dgm:spPr/>
      <dgm:t>
        <a:bodyPr/>
        <a:lstStyle/>
        <a:p>
          <a:endParaRPr lang="en-US"/>
        </a:p>
      </dgm:t>
    </dgm:pt>
    <dgm:pt modelId="{33116315-6E08-46F0-8F2C-C4CC73666261}">
      <dgm:prSet/>
      <dgm:spPr>
        <a:xfrm>
          <a:off x="9419725" y="2901155"/>
          <a:ext cx="2070997" cy="1242598"/>
        </a:xfrm>
        <a:prstGeom prst="rect">
          <a:avLst/>
        </a:prstGeom>
        <a:solidFill>
          <a:srgbClr val="14B94C">
            <a:hueOff val="0"/>
            <a:satOff val="0"/>
            <a:lumOff val="0"/>
            <a:alphaOff val="0"/>
          </a:srgbClr>
        </a:solidFill>
        <a:ln w="1587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15. Indicadores</a:t>
          </a:r>
          <a:r>
            <a:rPr lang="es-ES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 de Gestión                </a:t>
          </a:r>
          <a:endParaRPr lang="en-US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gm:t>
    </dgm:pt>
    <dgm:pt modelId="{EF9EE934-CA09-411C-B51A-120C06BF78E8}" type="parTrans" cxnId="{F0B02ACC-47C0-483E-B28C-420536068037}">
      <dgm:prSet/>
      <dgm:spPr/>
      <dgm:t>
        <a:bodyPr/>
        <a:lstStyle/>
        <a:p>
          <a:endParaRPr lang="en-US"/>
        </a:p>
      </dgm:t>
    </dgm:pt>
    <dgm:pt modelId="{3DCD3DC1-C35A-4CE9-AE67-0C2D213D8DD8}" type="sibTrans" cxnId="{F0B02ACC-47C0-483E-B28C-420536068037}">
      <dgm:prSet/>
      <dgm:spPr/>
      <dgm:t>
        <a:bodyPr/>
        <a:lstStyle/>
        <a:p>
          <a:endParaRPr lang="en-US"/>
        </a:p>
      </dgm:t>
    </dgm:pt>
    <dgm:pt modelId="{65F8263F-EE25-4DFD-8553-9FAE1D986D86}">
      <dgm:prSet phldr="0"/>
      <dgm:spPr>
        <a:xfrm>
          <a:off x="307337" y="2901155"/>
          <a:ext cx="2070997" cy="1242598"/>
        </a:xfrm>
        <a:prstGeom prst="rect">
          <a:avLst/>
        </a:prstGeom>
        <a:solidFill>
          <a:srgbClr val="D59617">
            <a:hueOff val="0"/>
            <a:satOff val="0"/>
            <a:lumOff val="0"/>
            <a:alphaOff val="0"/>
          </a:srgbClr>
        </a:solidFill>
        <a:ln w="1587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11. Supervisión </a:t>
          </a:r>
          <a:r>
            <a:rPr lang="es-ES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e interventoría       </a:t>
          </a:r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 </a:t>
          </a:r>
          <a:endParaRPr lang="es-ES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gm:t>
    </dgm:pt>
    <dgm:pt modelId="{59CD30C4-875F-47F4-B924-BE246A88A5DA}" type="parTrans" cxnId="{06D7BC4E-9128-491D-9851-33645CB2FDA3}">
      <dgm:prSet/>
      <dgm:spPr/>
      <dgm:t>
        <a:bodyPr/>
        <a:lstStyle/>
        <a:p>
          <a:endParaRPr lang="es-CO"/>
        </a:p>
      </dgm:t>
    </dgm:pt>
    <dgm:pt modelId="{56BEF3BA-85FE-418D-BB41-C348D73852EF}" type="sibTrans" cxnId="{06D7BC4E-9128-491D-9851-33645CB2FDA3}">
      <dgm:prSet/>
      <dgm:spPr/>
      <dgm:t>
        <a:bodyPr/>
        <a:lstStyle/>
        <a:p>
          <a:endParaRPr lang="es-CO"/>
        </a:p>
      </dgm:t>
    </dgm:pt>
    <dgm:pt modelId="{78127242-B7E3-44FB-A80C-291746558F32}" type="pres">
      <dgm:prSet presAssocID="{DFF5413F-736C-414A-9B7A-68FCBC233727}" presName="diagram" presStyleCnt="0">
        <dgm:presLayoutVars>
          <dgm:dir/>
          <dgm:resizeHandles val="exact"/>
        </dgm:presLayoutVars>
      </dgm:prSet>
      <dgm:spPr/>
    </dgm:pt>
    <dgm:pt modelId="{298A9B6A-8EC2-4D2D-B4AE-F3BC68FC0F2E}" type="pres">
      <dgm:prSet presAssocID="{84AEB58D-5402-4781-8F3C-DF577D4A4AC7}" presName="node" presStyleLbl="node1" presStyleIdx="0" presStyleCnt="15">
        <dgm:presLayoutVars>
          <dgm:bulletEnabled val="1"/>
        </dgm:presLayoutVars>
      </dgm:prSet>
      <dgm:spPr/>
    </dgm:pt>
    <dgm:pt modelId="{E1BA69DA-BD5D-4084-8472-10A68D4FEE2D}" type="pres">
      <dgm:prSet presAssocID="{F662A113-81D7-482E-B113-FE57F6D6C14A}" presName="sibTrans" presStyleCnt="0"/>
      <dgm:spPr/>
    </dgm:pt>
    <dgm:pt modelId="{04B3C3CF-E850-4513-96D8-A1A12493A486}" type="pres">
      <dgm:prSet presAssocID="{011DF080-0349-4951-A03B-259862CA001E}" presName="node" presStyleLbl="node1" presStyleIdx="1" presStyleCnt="15">
        <dgm:presLayoutVars>
          <dgm:bulletEnabled val="1"/>
        </dgm:presLayoutVars>
      </dgm:prSet>
      <dgm:spPr/>
    </dgm:pt>
    <dgm:pt modelId="{8CC8E5B8-26FB-46E1-9654-A845B919B059}" type="pres">
      <dgm:prSet presAssocID="{55A8284F-C16B-4AEE-8B9B-C19EE39D673F}" presName="sibTrans" presStyleCnt="0"/>
      <dgm:spPr/>
    </dgm:pt>
    <dgm:pt modelId="{B7BE46CB-4CAE-43EE-AE3F-ED2C6B7FC2C7}" type="pres">
      <dgm:prSet presAssocID="{806D8F6C-7AB2-4608-BE8D-0EADAE019B73}" presName="node" presStyleLbl="node1" presStyleIdx="2" presStyleCnt="15">
        <dgm:presLayoutVars>
          <dgm:bulletEnabled val="1"/>
        </dgm:presLayoutVars>
      </dgm:prSet>
      <dgm:spPr/>
    </dgm:pt>
    <dgm:pt modelId="{76134479-339E-48B4-BDC1-C2852F540EEE}" type="pres">
      <dgm:prSet presAssocID="{5B0FC4E8-CBC4-40DA-A7B9-5A9D6FF4D909}" presName="sibTrans" presStyleCnt="0"/>
      <dgm:spPr/>
    </dgm:pt>
    <dgm:pt modelId="{EAA455EA-60AF-4DF5-8049-513B29C87B5C}" type="pres">
      <dgm:prSet presAssocID="{66B25C37-CE37-46D4-B9C1-686242621F77}" presName="node" presStyleLbl="node1" presStyleIdx="3" presStyleCnt="15">
        <dgm:presLayoutVars>
          <dgm:bulletEnabled val="1"/>
        </dgm:presLayoutVars>
      </dgm:prSet>
      <dgm:spPr/>
    </dgm:pt>
    <dgm:pt modelId="{6456ACB4-759C-40C5-BA02-3EB6251ECCB6}" type="pres">
      <dgm:prSet presAssocID="{EEC1EE5C-CBF0-4451-9B12-4707003AFA97}" presName="sibTrans" presStyleCnt="0"/>
      <dgm:spPr/>
    </dgm:pt>
    <dgm:pt modelId="{F8FBAA03-2AA1-4CE4-9671-F4FAF96DD0BF}" type="pres">
      <dgm:prSet presAssocID="{8EC10091-3ABF-4AB4-96E6-11794B699855}" presName="node" presStyleLbl="node1" presStyleIdx="4" presStyleCnt="15">
        <dgm:presLayoutVars>
          <dgm:bulletEnabled val="1"/>
        </dgm:presLayoutVars>
      </dgm:prSet>
      <dgm:spPr/>
    </dgm:pt>
    <dgm:pt modelId="{9ED18B5A-2899-4211-88C9-51882BB5CDE9}" type="pres">
      <dgm:prSet presAssocID="{AE0C4F34-DEE4-4D9B-B176-E0DA6E101D57}" presName="sibTrans" presStyleCnt="0"/>
      <dgm:spPr/>
    </dgm:pt>
    <dgm:pt modelId="{BBAE89C8-7815-4F58-A06F-E091D4ED7A7D}" type="pres">
      <dgm:prSet presAssocID="{23F8515C-6185-4A5D-B7D5-85E69F050E6A}" presName="node" presStyleLbl="node1" presStyleIdx="5" presStyleCnt="15">
        <dgm:presLayoutVars>
          <dgm:bulletEnabled val="1"/>
        </dgm:presLayoutVars>
      </dgm:prSet>
      <dgm:spPr/>
    </dgm:pt>
    <dgm:pt modelId="{FCF5F9CE-59AE-4D0C-8077-8D9B394125D7}" type="pres">
      <dgm:prSet presAssocID="{DF843998-63F3-4F33-A167-FACE54243382}" presName="sibTrans" presStyleCnt="0"/>
      <dgm:spPr/>
    </dgm:pt>
    <dgm:pt modelId="{46AE9BC5-CE0B-4468-AF6E-1169AA2B81DB}" type="pres">
      <dgm:prSet presAssocID="{CDE3AA26-6832-4912-8147-B6CE653F2953}" presName="node" presStyleLbl="node1" presStyleIdx="6" presStyleCnt="15">
        <dgm:presLayoutVars>
          <dgm:bulletEnabled val="1"/>
        </dgm:presLayoutVars>
      </dgm:prSet>
      <dgm:spPr/>
    </dgm:pt>
    <dgm:pt modelId="{3A2F9087-AD39-4CB3-9F72-E39FB37C4670}" type="pres">
      <dgm:prSet presAssocID="{3DAD2B85-A918-49AD-BD46-ADC0AA3BCAD0}" presName="sibTrans" presStyleCnt="0"/>
      <dgm:spPr/>
    </dgm:pt>
    <dgm:pt modelId="{D67B401F-EC1B-45C0-91C4-1F445A7BE8B9}" type="pres">
      <dgm:prSet presAssocID="{B66E02AB-5474-4271-9554-9F3ABEEFE86F}" presName="node" presStyleLbl="node1" presStyleIdx="7" presStyleCnt="15">
        <dgm:presLayoutVars>
          <dgm:bulletEnabled val="1"/>
        </dgm:presLayoutVars>
      </dgm:prSet>
      <dgm:spPr/>
    </dgm:pt>
    <dgm:pt modelId="{78687690-8EF2-41BD-88A6-2632B586CD52}" type="pres">
      <dgm:prSet presAssocID="{1A1F77BD-3211-4796-9698-BC29545ABC7E}" presName="sibTrans" presStyleCnt="0"/>
      <dgm:spPr/>
    </dgm:pt>
    <dgm:pt modelId="{148F5B64-E597-4C3A-8BA3-F409A403E30D}" type="pres">
      <dgm:prSet presAssocID="{B97FFF74-86D4-44A1-92C2-25354AEB9337}" presName="node" presStyleLbl="node1" presStyleIdx="8" presStyleCnt="15">
        <dgm:presLayoutVars>
          <dgm:bulletEnabled val="1"/>
        </dgm:presLayoutVars>
      </dgm:prSet>
      <dgm:spPr/>
    </dgm:pt>
    <dgm:pt modelId="{7C8E3C1C-0C2A-4B5C-9404-6EE48E3B30AB}" type="pres">
      <dgm:prSet presAssocID="{CE064C28-8A47-4720-A25B-7EE0776E7B33}" presName="sibTrans" presStyleCnt="0"/>
      <dgm:spPr/>
    </dgm:pt>
    <dgm:pt modelId="{58247C83-9D4D-457D-8DF6-D11BEA2C7416}" type="pres">
      <dgm:prSet presAssocID="{4A06E68A-CF17-49A0-A238-E567ABAB16D4}" presName="node" presStyleLbl="node1" presStyleIdx="9" presStyleCnt="15">
        <dgm:presLayoutVars>
          <dgm:bulletEnabled val="1"/>
        </dgm:presLayoutVars>
      </dgm:prSet>
      <dgm:spPr/>
    </dgm:pt>
    <dgm:pt modelId="{7CD9EA1A-AF3F-422C-8594-FDF46292B446}" type="pres">
      <dgm:prSet presAssocID="{0A94CF58-9CC2-4E34-AAFD-7F7FD27EB711}" presName="sibTrans" presStyleCnt="0"/>
      <dgm:spPr/>
    </dgm:pt>
    <dgm:pt modelId="{03DFEDCE-4DB5-40E6-A56E-62FAE0FFB933}" type="pres">
      <dgm:prSet presAssocID="{65F8263F-EE25-4DFD-8553-9FAE1D986D86}" presName="node" presStyleLbl="node1" presStyleIdx="10" presStyleCnt="15">
        <dgm:presLayoutVars>
          <dgm:bulletEnabled val="1"/>
        </dgm:presLayoutVars>
      </dgm:prSet>
      <dgm:spPr/>
    </dgm:pt>
    <dgm:pt modelId="{95CB05AA-5CB8-40EA-BBE3-174402AB36AF}" type="pres">
      <dgm:prSet presAssocID="{56BEF3BA-85FE-418D-BB41-C348D73852EF}" presName="sibTrans" presStyleCnt="0"/>
      <dgm:spPr/>
    </dgm:pt>
    <dgm:pt modelId="{AAA6DA49-0060-49EC-9B28-6CA1178AB003}" type="pres">
      <dgm:prSet presAssocID="{4D7AD401-6D47-49CB-9971-920A01547F8D}" presName="node" presStyleLbl="node1" presStyleIdx="11" presStyleCnt="15">
        <dgm:presLayoutVars>
          <dgm:bulletEnabled val="1"/>
        </dgm:presLayoutVars>
      </dgm:prSet>
      <dgm:spPr/>
    </dgm:pt>
    <dgm:pt modelId="{735379A1-F00F-4802-B1F8-27B55FFD75DC}" type="pres">
      <dgm:prSet presAssocID="{B62A3D98-4B9B-481D-865F-B772C626E25E}" presName="sibTrans" presStyleCnt="0"/>
      <dgm:spPr/>
    </dgm:pt>
    <dgm:pt modelId="{242F4DF3-BDE1-4E4D-9D83-B94CBFAB6D1F}" type="pres">
      <dgm:prSet presAssocID="{E7B9CF88-2491-4858-9C07-27469ECFE222}" presName="node" presStyleLbl="node1" presStyleIdx="12" presStyleCnt="15">
        <dgm:presLayoutVars>
          <dgm:bulletEnabled val="1"/>
        </dgm:presLayoutVars>
      </dgm:prSet>
      <dgm:spPr/>
    </dgm:pt>
    <dgm:pt modelId="{3532B58B-AFF7-4360-BDFD-5F1F7A9DB391}" type="pres">
      <dgm:prSet presAssocID="{061BE761-5836-4C8B-A62E-91B85877FBEB}" presName="sibTrans" presStyleCnt="0"/>
      <dgm:spPr/>
    </dgm:pt>
    <dgm:pt modelId="{4DCCA2B3-2F39-4A22-B9CE-05D036466502}" type="pres">
      <dgm:prSet presAssocID="{985323A2-5EA3-40C8-90FE-5B4438C316C4}" presName="node" presStyleLbl="node1" presStyleIdx="13" presStyleCnt="15">
        <dgm:presLayoutVars>
          <dgm:bulletEnabled val="1"/>
        </dgm:presLayoutVars>
      </dgm:prSet>
      <dgm:spPr/>
    </dgm:pt>
    <dgm:pt modelId="{007F8CF7-0433-4E28-9D71-BD7E6F705ED3}" type="pres">
      <dgm:prSet presAssocID="{FE0AC138-F605-4DA4-97E7-DB099D208784}" presName="sibTrans" presStyleCnt="0"/>
      <dgm:spPr/>
    </dgm:pt>
    <dgm:pt modelId="{86B68F1C-4D66-4AF0-B163-5D50BB3C1718}" type="pres">
      <dgm:prSet presAssocID="{33116315-6E08-46F0-8F2C-C4CC73666261}" presName="node" presStyleLbl="node1" presStyleIdx="14" presStyleCnt="15">
        <dgm:presLayoutVars>
          <dgm:bulletEnabled val="1"/>
        </dgm:presLayoutVars>
      </dgm:prSet>
      <dgm:spPr/>
    </dgm:pt>
  </dgm:ptLst>
  <dgm:cxnLst>
    <dgm:cxn modelId="{A30A6B00-424B-491C-B05F-3D04BD0DDBB5}" type="presOf" srcId="{806D8F6C-7AB2-4608-BE8D-0EADAE019B73}" destId="{B7BE46CB-4CAE-43EE-AE3F-ED2C6B7FC2C7}" srcOrd="0" destOrd="0" presId="urn:microsoft.com/office/officeart/2005/8/layout/default"/>
    <dgm:cxn modelId="{B2CEFE0A-2CC2-4C56-B236-AB79FBBC7DC9}" srcId="{DFF5413F-736C-414A-9B7A-68FCBC233727}" destId="{84AEB58D-5402-4781-8F3C-DF577D4A4AC7}" srcOrd="0" destOrd="0" parTransId="{F5455D6D-C5BC-4401-8B76-3E8068A28DA4}" sibTransId="{F662A113-81D7-482E-B113-FE57F6D6C14A}"/>
    <dgm:cxn modelId="{B079E91B-E457-4516-9BC9-2F0FA6364578}" type="presOf" srcId="{23F8515C-6185-4A5D-B7D5-85E69F050E6A}" destId="{BBAE89C8-7815-4F58-A06F-E091D4ED7A7D}" srcOrd="0" destOrd="0" presId="urn:microsoft.com/office/officeart/2005/8/layout/default"/>
    <dgm:cxn modelId="{57FFCC20-701B-4E8D-87E8-29E9A443B552}" type="presOf" srcId="{4D7AD401-6D47-49CB-9971-920A01547F8D}" destId="{AAA6DA49-0060-49EC-9B28-6CA1178AB003}" srcOrd="0" destOrd="0" presId="urn:microsoft.com/office/officeart/2005/8/layout/default"/>
    <dgm:cxn modelId="{8AFB002A-A750-47C0-8C7B-05F5F0D94508}" srcId="{DFF5413F-736C-414A-9B7A-68FCBC233727}" destId="{CDE3AA26-6832-4912-8147-B6CE653F2953}" srcOrd="6" destOrd="0" parTransId="{19812975-02A5-4EB2-AF66-93F3029796BB}" sibTransId="{3DAD2B85-A918-49AD-BD46-ADC0AA3BCAD0}"/>
    <dgm:cxn modelId="{9A709C31-29A2-4230-8E8B-4875D21245D1}" srcId="{DFF5413F-736C-414A-9B7A-68FCBC233727}" destId="{4A06E68A-CF17-49A0-A238-E567ABAB16D4}" srcOrd="9" destOrd="0" parTransId="{243DC434-266D-4D89-A6DB-3C353B72EF53}" sibTransId="{0A94CF58-9CC2-4E34-AAFD-7F7FD27EB711}"/>
    <dgm:cxn modelId="{335E0238-7EDE-4FDE-8F0E-4674A5EDC429}" srcId="{DFF5413F-736C-414A-9B7A-68FCBC233727}" destId="{23F8515C-6185-4A5D-B7D5-85E69F050E6A}" srcOrd="5" destOrd="0" parTransId="{9B4AFD26-CE2B-4061-873E-E56D4C8405C1}" sibTransId="{DF843998-63F3-4F33-A167-FACE54243382}"/>
    <dgm:cxn modelId="{9CB26E3C-E720-4C3D-AEC4-9B1996A7013B}" srcId="{DFF5413F-736C-414A-9B7A-68FCBC233727}" destId="{806D8F6C-7AB2-4608-BE8D-0EADAE019B73}" srcOrd="2" destOrd="0" parTransId="{1958D492-2F19-4E03-BFB0-E33CA13AE860}" sibTransId="{5B0FC4E8-CBC4-40DA-A7B9-5A9D6FF4D909}"/>
    <dgm:cxn modelId="{19F13268-788A-45D2-8AD7-63AED721A6B9}" srcId="{DFF5413F-736C-414A-9B7A-68FCBC233727}" destId="{B66E02AB-5474-4271-9554-9F3ABEEFE86F}" srcOrd="7" destOrd="0" parTransId="{EEA55B43-2045-4CB8-A5D4-4D3CA5C796A6}" sibTransId="{1A1F77BD-3211-4796-9698-BC29545ABC7E}"/>
    <dgm:cxn modelId="{06D7BC4E-9128-491D-9851-33645CB2FDA3}" srcId="{DFF5413F-736C-414A-9B7A-68FCBC233727}" destId="{65F8263F-EE25-4DFD-8553-9FAE1D986D86}" srcOrd="10" destOrd="0" parTransId="{59CD30C4-875F-47F4-B924-BE246A88A5DA}" sibTransId="{56BEF3BA-85FE-418D-BB41-C348D73852EF}"/>
    <dgm:cxn modelId="{143B134F-218D-4C83-85ED-5E44B8AB2004}" type="presOf" srcId="{011DF080-0349-4951-A03B-259862CA001E}" destId="{04B3C3CF-E850-4513-96D8-A1A12493A486}" srcOrd="0" destOrd="0" presId="urn:microsoft.com/office/officeart/2005/8/layout/default"/>
    <dgm:cxn modelId="{33DE9971-FBFF-4A3E-A9E3-1595CC0970F5}" type="presOf" srcId="{4A06E68A-CF17-49A0-A238-E567ABAB16D4}" destId="{58247C83-9D4D-457D-8DF6-D11BEA2C7416}" srcOrd="0" destOrd="0" presId="urn:microsoft.com/office/officeart/2005/8/layout/default"/>
    <dgm:cxn modelId="{39E2E577-BEFF-465D-BDB8-D24D2068CB29}" srcId="{DFF5413F-736C-414A-9B7A-68FCBC233727}" destId="{4D7AD401-6D47-49CB-9971-920A01547F8D}" srcOrd="11" destOrd="0" parTransId="{5CEFF8B7-D78F-41B1-B32B-52D7E8E80A10}" sibTransId="{B62A3D98-4B9B-481D-865F-B772C626E25E}"/>
    <dgm:cxn modelId="{E006C158-3285-4D94-AECD-A555E24B7252}" type="presOf" srcId="{84AEB58D-5402-4781-8F3C-DF577D4A4AC7}" destId="{298A9B6A-8EC2-4D2D-B4AE-F3BC68FC0F2E}" srcOrd="0" destOrd="0" presId="urn:microsoft.com/office/officeart/2005/8/layout/default"/>
    <dgm:cxn modelId="{3DD13659-24EC-4DD6-95D0-75904B20B2E4}" type="presOf" srcId="{E7B9CF88-2491-4858-9C07-27469ECFE222}" destId="{242F4DF3-BDE1-4E4D-9D83-B94CBFAB6D1F}" srcOrd="0" destOrd="0" presId="urn:microsoft.com/office/officeart/2005/8/layout/default"/>
    <dgm:cxn modelId="{7CBD845A-4BD5-465D-A1F3-31C7C1F9ACB2}" type="presOf" srcId="{65F8263F-EE25-4DFD-8553-9FAE1D986D86}" destId="{03DFEDCE-4DB5-40E6-A56E-62FAE0FFB933}" srcOrd="0" destOrd="0" presId="urn:microsoft.com/office/officeart/2005/8/layout/default"/>
    <dgm:cxn modelId="{1CEA517E-BCD5-44D6-AF69-7F72D73710FA}" type="presOf" srcId="{CDE3AA26-6832-4912-8147-B6CE653F2953}" destId="{46AE9BC5-CE0B-4468-AF6E-1169AA2B81DB}" srcOrd="0" destOrd="0" presId="urn:microsoft.com/office/officeart/2005/8/layout/default"/>
    <dgm:cxn modelId="{10E89797-83F5-427E-9660-F1BF8840F0A4}" type="presOf" srcId="{8EC10091-3ABF-4AB4-96E6-11794B699855}" destId="{F8FBAA03-2AA1-4CE4-9671-F4FAF96DD0BF}" srcOrd="0" destOrd="0" presId="urn:microsoft.com/office/officeart/2005/8/layout/default"/>
    <dgm:cxn modelId="{989461A6-5AFE-4F0E-AAA6-9447D4E79623}" type="presOf" srcId="{33116315-6E08-46F0-8F2C-C4CC73666261}" destId="{86B68F1C-4D66-4AF0-B163-5D50BB3C1718}" srcOrd="0" destOrd="0" presId="urn:microsoft.com/office/officeart/2005/8/layout/default"/>
    <dgm:cxn modelId="{CAE441AB-A801-44E1-9941-F9F402D46D89}" srcId="{DFF5413F-736C-414A-9B7A-68FCBC233727}" destId="{8EC10091-3ABF-4AB4-96E6-11794B699855}" srcOrd="4" destOrd="0" parTransId="{3636D8DC-9693-4DDD-BAD5-45C0BA9F2FB5}" sibTransId="{AE0C4F34-DEE4-4D9B-B176-E0DA6E101D57}"/>
    <dgm:cxn modelId="{35A083B2-D1FC-4F82-ACFC-65C2E301CA06}" type="presOf" srcId="{985323A2-5EA3-40C8-90FE-5B4438C316C4}" destId="{4DCCA2B3-2F39-4A22-B9CE-05D036466502}" srcOrd="0" destOrd="0" presId="urn:microsoft.com/office/officeart/2005/8/layout/default"/>
    <dgm:cxn modelId="{423C7EB4-EE73-49A3-B98D-F8A39CB093A7}" srcId="{DFF5413F-736C-414A-9B7A-68FCBC233727}" destId="{B97FFF74-86D4-44A1-92C2-25354AEB9337}" srcOrd="8" destOrd="0" parTransId="{63734BBA-B881-4FA8-A39D-D48BF1CCDE05}" sibTransId="{CE064C28-8A47-4720-A25B-7EE0776E7B33}"/>
    <dgm:cxn modelId="{EDC710C3-2199-43D2-94AE-129A3D7DC3E0}" type="presOf" srcId="{66B25C37-CE37-46D4-B9C1-686242621F77}" destId="{EAA455EA-60AF-4DF5-8049-513B29C87B5C}" srcOrd="0" destOrd="0" presId="urn:microsoft.com/office/officeart/2005/8/layout/default"/>
    <dgm:cxn modelId="{F0B02ACC-47C0-483E-B28C-420536068037}" srcId="{DFF5413F-736C-414A-9B7A-68FCBC233727}" destId="{33116315-6E08-46F0-8F2C-C4CC73666261}" srcOrd="14" destOrd="0" parTransId="{EF9EE934-CA09-411C-B51A-120C06BF78E8}" sibTransId="{3DCD3DC1-C35A-4CE9-AE67-0C2D213D8DD8}"/>
    <dgm:cxn modelId="{935542CF-320B-4BFC-8BEF-B0FF3F4B37AF}" type="presOf" srcId="{DFF5413F-736C-414A-9B7A-68FCBC233727}" destId="{78127242-B7E3-44FB-A80C-291746558F32}" srcOrd="0" destOrd="0" presId="urn:microsoft.com/office/officeart/2005/8/layout/default"/>
    <dgm:cxn modelId="{BD2E91D3-6D46-42A8-995D-3939B3E55D90}" srcId="{DFF5413F-736C-414A-9B7A-68FCBC233727}" destId="{E7B9CF88-2491-4858-9C07-27469ECFE222}" srcOrd="12" destOrd="0" parTransId="{123BC2D8-221B-4B88-BDDA-73B393AD353F}" sibTransId="{061BE761-5836-4C8B-A62E-91B85877FBEB}"/>
    <dgm:cxn modelId="{D4DC33D9-D5D7-4AF3-AD66-FB696B3083FC}" srcId="{DFF5413F-736C-414A-9B7A-68FCBC233727}" destId="{985323A2-5EA3-40C8-90FE-5B4438C316C4}" srcOrd="13" destOrd="0" parTransId="{8309FDE9-D2E1-4D32-9B9A-DF70FA0F01C7}" sibTransId="{FE0AC138-F605-4DA4-97E7-DB099D208784}"/>
    <dgm:cxn modelId="{05A712DB-EB16-49C3-9923-7DF7116E2AA1}" srcId="{DFF5413F-736C-414A-9B7A-68FCBC233727}" destId="{66B25C37-CE37-46D4-B9C1-686242621F77}" srcOrd="3" destOrd="0" parTransId="{2C1BC0AB-3AD7-4BA8-A6DE-42CE0DEF9369}" sibTransId="{EEC1EE5C-CBF0-4451-9B12-4707003AFA97}"/>
    <dgm:cxn modelId="{7986B5EF-592A-4122-B451-C646279EADF0}" srcId="{DFF5413F-736C-414A-9B7A-68FCBC233727}" destId="{011DF080-0349-4951-A03B-259862CA001E}" srcOrd="1" destOrd="0" parTransId="{7E8B4C24-4633-41E6-97ED-514E6E160D13}" sibTransId="{55A8284F-C16B-4AEE-8B9B-C19EE39D673F}"/>
    <dgm:cxn modelId="{A48313F3-AE44-4DFB-BC01-4E36B1C0360B}" type="presOf" srcId="{B66E02AB-5474-4271-9554-9F3ABEEFE86F}" destId="{D67B401F-EC1B-45C0-91C4-1F445A7BE8B9}" srcOrd="0" destOrd="0" presId="urn:microsoft.com/office/officeart/2005/8/layout/default"/>
    <dgm:cxn modelId="{9830FBF6-56ED-4DD6-926D-9450A48D056E}" type="presOf" srcId="{B97FFF74-86D4-44A1-92C2-25354AEB9337}" destId="{148F5B64-E597-4C3A-8BA3-F409A403E30D}" srcOrd="0" destOrd="0" presId="urn:microsoft.com/office/officeart/2005/8/layout/default"/>
    <dgm:cxn modelId="{CC4AB111-E67E-47F3-860C-9ED8920F9BD3}" type="presParOf" srcId="{78127242-B7E3-44FB-A80C-291746558F32}" destId="{298A9B6A-8EC2-4D2D-B4AE-F3BC68FC0F2E}" srcOrd="0" destOrd="0" presId="urn:microsoft.com/office/officeart/2005/8/layout/default"/>
    <dgm:cxn modelId="{484C00D4-03A1-4943-A7F1-AAD537E9CCF2}" type="presParOf" srcId="{78127242-B7E3-44FB-A80C-291746558F32}" destId="{E1BA69DA-BD5D-4084-8472-10A68D4FEE2D}" srcOrd="1" destOrd="0" presId="urn:microsoft.com/office/officeart/2005/8/layout/default"/>
    <dgm:cxn modelId="{8A26EF8D-3081-4004-A927-D1E7D828729F}" type="presParOf" srcId="{78127242-B7E3-44FB-A80C-291746558F32}" destId="{04B3C3CF-E850-4513-96D8-A1A12493A486}" srcOrd="2" destOrd="0" presId="urn:microsoft.com/office/officeart/2005/8/layout/default"/>
    <dgm:cxn modelId="{13AC54AD-461D-4122-991C-202FE47BF32E}" type="presParOf" srcId="{78127242-B7E3-44FB-A80C-291746558F32}" destId="{8CC8E5B8-26FB-46E1-9654-A845B919B059}" srcOrd="3" destOrd="0" presId="urn:microsoft.com/office/officeart/2005/8/layout/default"/>
    <dgm:cxn modelId="{B6973D74-27D7-419F-B568-33C7B9E30A93}" type="presParOf" srcId="{78127242-B7E3-44FB-A80C-291746558F32}" destId="{B7BE46CB-4CAE-43EE-AE3F-ED2C6B7FC2C7}" srcOrd="4" destOrd="0" presId="urn:microsoft.com/office/officeart/2005/8/layout/default"/>
    <dgm:cxn modelId="{363D38CC-E19A-4E6B-ACA9-40AE8B8149E6}" type="presParOf" srcId="{78127242-B7E3-44FB-A80C-291746558F32}" destId="{76134479-339E-48B4-BDC1-C2852F540EEE}" srcOrd="5" destOrd="0" presId="urn:microsoft.com/office/officeart/2005/8/layout/default"/>
    <dgm:cxn modelId="{5491A5B1-0514-4D83-AD54-D0614A7C6244}" type="presParOf" srcId="{78127242-B7E3-44FB-A80C-291746558F32}" destId="{EAA455EA-60AF-4DF5-8049-513B29C87B5C}" srcOrd="6" destOrd="0" presId="urn:microsoft.com/office/officeart/2005/8/layout/default"/>
    <dgm:cxn modelId="{4561A7DF-4930-4073-AE8D-EAF07C374AEE}" type="presParOf" srcId="{78127242-B7E3-44FB-A80C-291746558F32}" destId="{6456ACB4-759C-40C5-BA02-3EB6251ECCB6}" srcOrd="7" destOrd="0" presId="urn:microsoft.com/office/officeart/2005/8/layout/default"/>
    <dgm:cxn modelId="{3ACBF760-CC76-4834-812D-F93FA46E7D7F}" type="presParOf" srcId="{78127242-B7E3-44FB-A80C-291746558F32}" destId="{F8FBAA03-2AA1-4CE4-9671-F4FAF96DD0BF}" srcOrd="8" destOrd="0" presId="urn:microsoft.com/office/officeart/2005/8/layout/default"/>
    <dgm:cxn modelId="{D931CF0B-9382-401B-883B-84D63B8D8F03}" type="presParOf" srcId="{78127242-B7E3-44FB-A80C-291746558F32}" destId="{9ED18B5A-2899-4211-88C9-51882BB5CDE9}" srcOrd="9" destOrd="0" presId="urn:microsoft.com/office/officeart/2005/8/layout/default"/>
    <dgm:cxn modelId="{F6B52943-B305-4DA9-8240-B30BDEF7575F}" type="presParOf" srcId="{78127242-B7E3-44FB-A80C-291746558F32}" destId="{BBAE89C8-7815-4F58-A06F-E091D4ED7A7D}" srcOrd="10" destOrd="0" presId="urn:microsoft.com/office/officeart/2005/8/layout/default"/>
    <dgm:cxn modelId="{61BCD383-DB83-4FF9-A052-FC0F03D9E99E}" type="presParOf" srcId="{78127242-B7E3-44FB-A80C-291746558F32}" destId="{FCF5F9CE-59AE-4D0C-8077-8D9B394125D7}" srcOrd="11" destOrd="0" presId="urn:microsoft.com/office/officeart/2005/8/layout/default"/>
    <dgm:cxn modelId="{80FFAD16-5F06-405B-A1CA-DF496B8869C8}" type="presParOf" srcId="{78127242-B7E3-44FB-A80C-291746558F32}" destId="{46AE9BC5-CE0B-4468-AF6E-1169AA2B81DB}" srcOrd="12" destOrd="0" presId="urn:microsoft.com/office/officeart/2005/8/layout/default"/>
    <dgm:cxn modelId="{F2FE3564-6121-4204-9B1D-37D73F198D97}" type="presParOf" srcId="{78127242-B7E3-44FB-A80C-291746558F32}" destId="{3A2F9087-AD39-4CB3-9F72-E39FB37C4670}" srcOrd="13" destOrd="0" presId="urn:microsoft.com/office/officeart/2005/8/layout/default"/>
    <dgm:cxn modelId="{DBBE7C0B-5D39-41FD-A2D2-527354E1C883}" type="presParOf" srcId="{78127242-B7E3-44FB-A80C-291746558F32}" destId="{D67B401F-EC1B-45C0-91C4-1F445A7BE8B9}" srcOrd="14" destOrd="0" presId="urn:microsoft.com/office/officeart/2005/8/layout/default"/>
    <dgm:cxn modelId="{FA83A180-2C34-4753-B3BC-B94BB7F87A1A}" type="presParOf" srcId="{78127242-B7E3-44FB-A80C-291746558F32}" destId="{78687690-8EF2-41BD-88A6-2632B586CD52}" srcOrd="15" destOrd="0" presId="urn:microsoft.com/office/officeart/2005/8/layout/default"/>
    <dgm:cxn modelId="{C1DDB9FD-6AD4-43A9-A107-F8C5731B6F64}" type="presParOf" srcId="{78127242-B7E3-44FB-A80C-291746558F32}" destId="{148F5B64-E597-4C3A-8BA3-F409A403E30D}" srcOrd="16" destOrd="0" presId="urn:microsoft.com/office/officeart/2005/8/layout/default"/>
    <dgm:cxn modelId="{D531AFFF-731E-4AF9-9701-75B17D7804A3}" type="presParOf" srcId="{78127242-B7E3-44FB-A80C-291746558F32}" destId="{7C8E3C1C-0C2A-4B5C-9404-6EE48E3B30AB}" srcOrd="17" destOrd="0" presId="urn:microsoft.com/office/officeart/2005/8/layout/default"/>
    <dgm:cxn modelId="{325604C5-F23C-4A4D-80AC-1FCC3865C538}" type="presParOf" srcId="{78127242-B7E3-44FB-A80C-291746558F32}" destId="{58247C83-9D4D-457D-8DF6-D11BEA2C7416}" srcOrd="18" destOrd="0" presId="urn:microsoft.com/office/officeart/2005/8/layout/default"/>
    <dgm:cxn modelId="{38DE2ED3-EDD2-4234-B92C-AB9187BF9EF0}" type="presParOf" srcId="{78127242-B7E3-44FB-A80C-291746558F32}" destId="{7CD9EA1A-AF3F-422C-8594-FDF46292B446}" srcOrd="19" destOrd="0" presId="urn:microsoft.com/office/officeart/2005/8/layout/default"/>
    <dgm:cxn modelId="{422C75AA-957A-4EE8-A4F6-3BB53B8F4DD6}" type="presParOf" srcId="{78127242-B7E3-44FB-A80C-291746558F32}" destId="{03DFEDCE-4DB5-40E6-A56E-62FAE0FFB933}" srcOrd="20" destOrd="0" presId="urn:microsoft.com/office/officeart/2005/8/layout/default"/>
    <dgm:cxn modelId="{C2936FCB-EB12-4A8D-BAFD-DC1B13C03413}" type="presParOf" srcId="{78127242-B7E3-44FB-A80C-291746558F32}" destId="{95CB05AA-5CB8-40EA-BBE3-174402AB36AF}" srcOrd="21" destOrd="0" presId="urn:microsoft.com/office/officeart/2005/8/layout/default"/>
    <dgm:cxn modelId="{93DF8C9C-526D-4B85-A0E4-84B458CBF515}" type="presParOf" srcId="{78127242-B7E3-44FB-A80C-291746558F32}" destId="{AAA6DA49-0060-49EC-9B28-6CA1178AB003}" srcOrd="22" destOrd="0" presId="urn:microsoft.com/office/officeart/2005/8/layout/default"/>
    <dgm:cxn modelId="{334FDCB2-707D-494F-8BF7-BE6EB86C7EC8}" type="presParOf" srcId="{78127242-B7E3-44FB-A80C-291746558F32}" destId="{735379A1-F00F-4802-B1F8-27B55FFD75DC}" srcOrd="23" destOrd="0" presId="urn:microsoft.com/office/officeart/2005/8/layout/default"/>
    <dgm:cxn modelId="{C1C60F97-D862-4E55-A5BA-3A63A72C0F4A}" type="presParOf" srcId="{78127242-B7E3-44FB-A80C-291746558F32}" destId="{242F4DF3-BDE1-4E4D-9D83-B94CBFAB6D1F}" srcOrd="24" destOrd="0" presId="urn:microsoft.com/office/officeart/2005/8/layout/default"/>
    <dgm:cxn modelId="{60D3902E-ACBF-4D45-9F74-9A3D1664B65F}" type="presParOf" srcId="{78127242-B7E3-44FB-A80C-291746558F32}" destId="{3532B58B-AFF7-4360-BDFD-5F1F7A9DB391}" srcOrd="25" destOrd="0" presId="urn:microsoft.com/office/officeart/2005/8/layout/default"/>
    <dgm:cxn modelId="{A060095D-AB33-4F72-91E8-B336604EFBD6}" type="presParOf" srcId="{78127242-B7E3-44FB-A80C-291746558F32}" destId="{4DCCA2B3-2F39-4A22-B9CE-05D036466502}" srcOrd="26" destOrd="0" presId="urn:microsoft.com/office/officeart/2005/8/layout/default"/>
    <dgm:cxn modelId="{358B6019-A2EE-41BE-95AB-3D49D585AFDB}" type="presParOf" srcId="{78127242-B7E3-44FB-A80C-291746558F32}" destId="{007F8CF7-0433-4E28-9D71-BD7E6F705ED3}" srcOrd="27" destOrd="0" presId="urn:microsoft.com/office/officeart/2005/8/layout/default"/>
    <dgm:cxn modelId="{61B0DB1E-6041-4E89-8DDC-A74D34DFFC9F}" type="presParOf" srcId="{78127242-B7E3-44FB-A80C-291746558F32}" destId="{86B68F1C-4D66-4AF0-B163-5D50BB3C1718}" srcOrd="2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FF5413F-736C-414A-9B7A-68FCBC233727}" type="doc">
      <dgm:prSet loTypeId="urn:microsoft.com/office/officeart/2005/8/layout/default" loCatId="list" qsTypeId="urn:microsoft.com/office/officeart/2005/8/quickstyle/simple4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E8B80BA6-39E1-4BFE-A2A5-57E9D1AA0EF3}">
      <dgm:prSet phldr="0"/>
      <dgm:spPr>
        <a:xfrm>
          <a:off x="33856" y="1910"/>
          <a:ext cx="2092412" cy="1255447"/>
        </a:xfrm>
        <a:prstGeom prst="rect">
          <a:avLst/>
        </a:prstGeom>
        <a:gradFill rotWithShape="0">
          <a:gsLst>
            <a:gs pos="0">
              <a:srgbClr val="D59617">
                <a:hueOff val="0"/>
                <a:satOff val="0"/>
                <a:lumOff val="0"/>
                <a:alphaOff val="0"/>
                <a:shade val="85000"/>
                <a:satMod val="130000"/>
              </a:srgbClr>
            </a:gs>
            <a:gs pos="34000">
              <a:srgbClr val="D59617">
                <a:hueOff val="0"/>
                <a:satOff val="0"/>
                <a:lumOff val="0"/>
                <a:alphaOff val="0"/>
                <a:shade val="87000"/>
                <a:satMod val="125000"/>
              </a:srgbClr>
            </a:gs>
            <a:gs pos="70000">
              <a:srgbClr val="D59617"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rgbClr>
            </a:gs>
            <a:gs pos="100000">
              <a:srgbClr val="D59617"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rgb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38100" dist="25400" dir="2700000" algn="br" rotWithShape="0">
            <a:srgbClr val="000000">
              <a:alpha val="60000"/>
            </a:srgbClr>
          </a:outerShdw>
        </a:effectLst>
      </dgm:spPr>
      <dgm:t>
        <a:bodyPr/>
        <a:lstStyle/>
        <a:p>
          <a:pPr rtl="0"/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16. Gestión</a:t>
          </a:r>
          <a:r>
            <a:rPr lang="es-ES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 presupuestal / Control y manejo de recursos públicos               </a:t>
          </a:r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 </a:t>
          </a:r>
          <a:endParaRPr lang="es-ES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gm:t>
    </dgm:pt>
    <dgm:pt modelId="{34FF0914-E8BA-4B17-9A40-51A2715A855E}" type="parTrans" cxnId="{C11CC973-7D98-4331-BA01-CB4F5430349F}">
      <dgm:prSet/>
      <dgm:spPr/>
      <dgm:t>
        <a:bodyPr/>
        <a:lstStyle/>
        <a:p>
          <a:endParaRPr lang="es-CO"/>
        </a:p>
      </dgm:t>
    </dgm:pt>
    <dgm:pt modelId="{169E4FCA-A058-4293-B2D7-EB87245BCBC5}" type="sibTrans" cxnId="{C11CC973-7D98-4331-BA01-CB4F5430349F}">
      <dgm:prSet/>
      <dgm:spPr/>
      <dgm:t>
        <a:bodyPr/>
        <a:lstStyle/>
        <a:p>
          <a:endParaRPr lang="es-ES"/>
        </a:p>
      </dgm:t>
    </dgm:pt>
    <dgm:pt modelId="{8648DEF2-B775-403D-AE89-291740590E08}">
      <dgm:prSet phldr="0"/>
      <dgm:spPr>
        <a:xfrm>
          <a:off x="4637163" y="1910"/>
          <a:ext cx="2092412" cy="1255447"/>
        </a:xfrm>
        <a:prstGeom prst="rect">
          <a:avLst/>
        </a:prstGeom>
        <a:gradFill rotWithShape="0">
          <a:gsLst>
            <a:gs pos="0">
              <a:srgbClr val="64B614">
                <a:hueOff val="0"/>
                <a:satOff val="0"/>
                <a:lumOff val="0"/>
                <a:alphaOff val="0"/>
                <a:shade val="85000"/>
                <a:satMod val="130000"/>
              </a:srgbClr>
            </a:gs>
            <a:gs pos="34000">
              <a:srgbClr val="64B614">
                <a:hueOff val="0"/>
                <a:satOff val="0"/>
                <a:lumOff val="0"/>
                <a:alphaOff val="0"/>
                <a:shade val="87000"/>
                <a:satMod val="125000"/>
              </a:srgbClr>
            </a:gs>
            <a:gs pos="70000">
              <a:srgbClr val="64B614"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rgbClr>
            </a:gs>
            <a:gs pos="100000">
              <a:srgbClr val="64B614"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rgb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38100" dist="25400" dir="2700000" algn="br" rotWithShape="0">
            <a:srgbClr val="000000">
              <a:alpha val="60000"/>
            </a:srgbClr>
          </a:outerShdw>
        </a:effectLst>
      </dgm:spPr>
      <dgm:t>
        <a:bodyPr/>
        <a:lstStyle/>
        <a:p>
          <a:pPr rtl="0"/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18. Gestión </a:t>
          </a:r>
          <a:r>
            <a:rPr lang="es-ES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de Talento Humano    </a:t>
          </a:r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 </a:t>
          </a:r>
          <a:endParaRPr lang="es-ES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gm:t>
    </dgm:pt>
    <dgm:pt modelId="{09F20AA0-CE03-4870-B8CA-1727C43D5F4B}" type="parTrans" cxnId="{67848FF2-C723-4D51-989D-88FFDD4EB191}">
      <dgm:prSet/>
      <dgm:spPr/>
      <dgm:t>
        <a:bodyPr/>
        <a:lstStyle/>
        <a:p>
          <a:endParaRPr lang="es-CO"/>
        </a:p>
      </dgm:t>
    </dgm:pt>
    <dgm:pt modelId="{69E1080B-7AE9-4D25-AB94-66095F300955}" type="sibTrans" cxnId="{67848FF2-C723-4D51-989D-88FFDD4EB191}">
      <dgm:prSet/>
      <dgm:spPr/>
      <dgm:t>
        <a:bodyPr/>
        <a:lstStyle/>
        <a:p>
          <a:endParaRPr lang="es-ES"/>
        </a:p>
      </dgm:t>
    </dgm:pt>
    <dgm:pt modelId="{24CF50D0-E350-4F4E-A09A-8BF311AD9836}">
      <dgm:prSet phldr="0"/>
      <dgm:spPr>
        <a:xfrm>
          <a:off x="6938816" y="1910"/>
          <a:ext cx="2092412" cy="1255447"/>
        </a:xfrm>
        <a:prstGeom prst="rect">
          <a:avLst/>
        </a:prstGeom>
        <a:gradFill rotWithShape="0">
          <a:gsLst>
            <a:gs pos="0">
              <a:srgbClr val="2DBA21">
                <a:hueOff val="0"/>
                <a:satOff val="0"/>
                <a:lumOff val="0"/>
                <a:alphaOff val="0"/>
                <a:shade val="85000"/>
                <a:satMod val="130000"/>
              </a:srgbClr>
            </a:gs>
            <a:gs pos="34000">
              <a:srgbClr val="2DBA21">
                <a:hueOff val="0"/>
                <a:satOff val="0"/>
                <a:lumOff val="0"/>
                <a:alphaOff val="0"/>
                <a:shade val="87000"/>
                <a:satMod val="125000"/>
              </a:srgbClr>
            </a:gs>
            <a:gs pos="70000">
              <a:srgbClr val="2DBA21"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rgbClr>
            </a:gs>
            <a:gs pos="100000">
              <a:srgbClr val="2DBA21"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rgb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38100" dist="25400" dir="2700000" algn="br" rotWithShape="0">
            <a:srgbClr val="000000">
              <a:alpha val="60000"/>
            </a:srgbClr>
          </a:outerShdw>
        </a:effectLst>
      </dgm:spPr>
      <dgm:t>
        <a:bodyPr/>
        <a:lstStyle/>
        <a:p>
          <a:pPr rtl="0"/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19. Seguridad </a:t>
          </a:r>
          <a:r>
            <a:rPr lang="es-ES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y salud en el trabajo</a:t>
          </a:r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 </a:t>
          </a:r>
          <a:endParaRPr lang="es-ES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gm:t>
    </dgm:pt>
    <dgm:pt modelId="{D229EDDF-843D-4E6D-A69C-F7DADE80156E}" type="parTrans" cxnId="{8DDDFC8B-183A-4E7C-8ED2-55C81B5F863D}">
      <dgm:prSet/>
      <dgm:spPr/>
      <dgm:t>
        <a:bodyPr/>
        <a:lstStyle/>
        <a:p>
          <a:endParaRPr lang="es-CO"/>
        </a:p>
      </dgm:t>
    </dgm:pt>
    <dgm:pt modelId="{80885B17-5FFD-4FA2-9E43-A6FCB130834D}" type="sibTrans" cxnId="{8DDDFC8B-183A-4E7C-8ED2-55C81B5F863D}">
      <dgm:prSet/>
      <dgm:spPr/>
      <dgm:t>
        <a:bodyPr/>
        <a:lstStyle/>
        <a:p>
          <a:endParaRPr lang="es-ES"/>
        </a:p>
      </dgm:t>
    </dgm:pt>
    <dgm:pt modelId="{90E919F8-2487-4355-A331-51F15FDD9292}">
      <dgm:prSet phldr="0"/>
      <dgm:spPr>
        <a:xfrm>
          <a:off x="9240470" y="1910"/>
          <a:ext cx="2092412" cy="1255447"/>
        </a:xfrm>
        <a:prstGeom prst="rect">
          <a:avLst/>
        </a:prstGeom>
        <a:gradFill rotWithShape="0">
          <a:gsLst>
            <a:gs pos="0">
              <a:srgbClr val="14B94C">
                <a:hueOff val="0"/>
                <a:satOff val="0"/>
                <a:lumOff val="0"/>
                <a:alphaOff val="0"/>
                <a:shade val="85000"/>
                <a:satMod val="130000"/>
              </a:srgbClr>
            </a:gs>
            <a:gs pos="34000">
              <a:srgbClr val="14B94C">
                <a:hueOff val="0"/>
                <a:satOff val="0"/>
                <a:lumOff val="0"/>
                <a:alphaOff val="0"/>
                <a:shade val="87000"/>
                <a:satMod val="125000"/>
              </a:srgbClr>
            </a:gs>
            <a:gs pos="70000">
              <a:srgbClr val="14B94C"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rgbClr>
            </a:gs>
            <a:gs pos="100000">
              <a:srgbClr val="14B94C"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rgb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38100" dist="25400" dir="2700000" algn="br" rotWithShape="0">
            <a:srgbClr val="000000">
              <a:alpha val="60000"/>
            </a:srgbClr>
          </a:outerShdw>
        </a:effectLst>
      </dgm:spPr>
      <dgm:t>
        <a:bodyPr/>
        <a:lstStyle/>
        <a:p>
          <a:pPr rtl="0"/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20. </a:t>
          </a:r>
          <a:r>
            <a:rPr lang="es-ES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Control interno               </a:t>
          </a:r>
          <a:endParaRPr lang="es-ES">
            <a:solidFill>
              <a:srgbClr val="FFFFFF"/>
            </a:solidFill>
            <a:latin typeface="Tw Cen MT" panose="020F0302020204030204"/>
            <a:ea typeface="+mn-ea"/>
            <a:cs typeface="+mn-cs"/>
          </a:endParaRPr>
        </a:p>
      </dgm:t>
    </dgm:pt>
    <dgm:pt modelId="{CC32D478-6E99-45CF-96E0-3F7960CB6473}" type="parTrans" cxnId="{F6E0C5D8-ABB4-4D7B-8542-24A62D6F5913}">
      <dgm:prSet/>
      <dgm:spPr/>
      <dgm:t>
        <a:bodyPr/>
        <a:lstStyle/>
        <a:p>
          <a:endParaRPr lang="es-CO"/>
        </a:p>
      </dgm:t>
    </dgm:pt>
    <dgm:pt modelId="{DC297E49-3318-4217-85DC-843D0E3D2B99}" type="sibTrans" cxnId="{F6E0C5D8-ABB4-4D7B-8542-24A62D6F5913}">
      <dgm:prSet/>
      <dgm:spPr/>
      <dgm:t>
        <a:bodyPr/>
        <a:lstStyle/>
        <a:p>
          <a:endParaRPr lang="es-ES"/>
        </a:p>
      </dgm:t>
    </dgm:pt>
    <dgm:pt modelId="{D85D43B1-E5C5-4392-976B-2247E2BBDA0A}">
      <dgm:prSet phldr="0"/>
      <dgm:spPr>
        <a:xfrm>
          <a:off x="2335509" y="1466599"/>
          <a:ext cx="2092412" cy="1255447"/>
        </a:xfrm>
        <a:prstGeom prst="rect">
          <a:avLst/>
        </a:prstGeom>
        <a:gradFill rotWithShape="0">
          <a:gsLst>
            <a:gs pos="0">
              <a:srgbClr val="9EAA1E">
                <a:hueOff val="0"/>
                <a:satOff val="0"/>
                <a:lumOff val="0"/>
                <a:alphaOff val="0"/>
                <a:shade val="85000"/>
                <a:satMod val="130000"/>
              </a:srgbClr>
            </a:gs>
            <a:gs pos="34000">
              <a:srgbClr val="9EAA1E">
                <a:hueOff val="0"/>
                <a:satOff val="0"/>
                <a:lumOff val="0"/>
                <a:alphaOff val="0"/>
                <a:shade val="87000"/>
                <a:satMod val="125000"/>
              </a:srgbClr>
            </a:gs>
            <a:gs pos="70000">
              <a:srgbClr val="9EAA1E"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rgbClr>
            </a:gs>
            <a:gs pos="100000">
              <a:srgbClr val="9EAA1E"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rgb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38100" dist="25400" dir="2700000" algn="br" rotWithShape="0">
            <a:srgbClr val="000000">
              <a:alpha val="60000"/>
            </a:srgbClr>
          </a:outerShdw>
        </a:effectLst>
      </dgm:spPr>
      <dgm:t>
        <a:bodyPr/>
        <a:lstStyle/>
        <a:p>
          <a:pPr rtl="0"/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22. Gestión </a:t>
          </a:r>
          <a:r>
            <a:rPr lang="es-ES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Documental    </a:t>
          </a:r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 </a:t>
          </a:r>
          <a:endParaRPr lang="es-ES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gm:t>
    </dgm:pt>
    <dgm:pt modelId="{4A25970F-A201-4384-B285-23E28BF97CAE}" type="parTrans" cxnId="{9D3F6285-DB8B-4999-A18D-D47E974939FE}">
      <dgm:prSet/>
      <dgm:spPr/>
      <dgm:t>
        <a:bodyPr/>
        <a:lstStyle/>
        <a:p>
          <a:endParaRPr lang="es-CO"/>
        </a:p>
      </dgm:t>
    </dgm:pt>
    <dgm:pt modelId="{9DF5CFF4-9E8B-46F9-BB5F-669FB0FB5030}" type="sibTrans" cxnId="{9D3F6285-DB8B-4999-A18D-D47E974939FE}">
      <dgm:prSet/>
      <dgm:spPr/>
      <dgm:t>
        <a:bodyPr/>
        <a:lstStyle/>
        <a:p>
          <a:endParaRPr lang="es-ES"/>
        </a:p>
      </dgm:t>
    </dgm:pt>
    <dgm:pt modelId="{C17D1506-8376-4128-97AA-29848758B1EF}">
      <dgm:prSet phldr="0"/>
      <dgm:spPr>
        <a:xfrm>
          <a:off x="4637163" y="1466599"/>
          <a:ext cx="2092412" cy="1255447"/>
        </a:xfrm>
        <a:prstGeom prst="rect">
          <a:avLst/>
        </a:prstGeom>
        <a:gradFill rotWithShape="0">
          <a:gsLst>
            <a:gs pos="0">
              <a:srgbClr val="64B614">
                <a:hueOff val="0"/>
                <a:satOff val="0"/>
                <a:lumOff val="0"/>
                <a:alphaOff val="0"/>
                <a:shade val="85000"/>
                <a:satMod val="130000"/>
              </a:srgbClr>
            </a:gs>
            <a:gs pos="34000">
              <a:srgbClr val="64B614">
                <a:hueOff val="0"/>
                <a:satOff val="0"/>
                <a:lumOff val="0"/>
                <a:alphaOff val="0"/>
                <a:shade val="87000"/>
                <a:satMod val="125000"/>
              </a:srgbClr>
            </a:gs>
            <a:gs pos="70000">
              <a:srgbClr val="64B614"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rgbClr>
            </a:gs>
            <a:gs pos="100000">
              <a:srgbClr val="64B614"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rgb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38100" dist="25400" dir="2700000" algn="br" rotWithShape="0">
            <a:srgbClr val="000000">
              <a:alpha val="60000"/>
            </a:srgbClr>
          </a:outerShdw>
        </a:effectLst>
      </dgm:spPr>
      <dgm:t>
        <a:bodyPr/>
        <a:lstStyle/>
        <a:p>
          <a:pPr rtl="0"/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23. Servicio </a:t>
          </a:r>
          <a:r>
            <a:rPr lang="es-ES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al ciudadano    </a:t>
          </a:r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 </a:t>
          </a:r>
          <a:endParaRPr lang="es-ES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gm:t>
    </dgm:pt>
    <dgm:pt modelId="{4BAAD2C3-8D47-4F76-A543-39F9DE77038D}" type="parTrans" cxnId="{EE430BBD-0521-44D0-A520-26DED419765A}">
      <dgm:prSet/>
      <dgm:spPr/>
      <dgm:t>
        <a:bodyPr/>
        <a:lstStyle/>
        <a:p>
          <a:endParaRPr lang="es-CO"/>
        </a:p>
      </dgm:t>
    </dgm:pt>
    <dgm:pt modelId="{0942BFB6-2CC0-4DA9-A327-A83A1E239F16}" type="sibTrans" cxnId="{EE430BBD-0521-44D0-A520-26DED419765A}">
      <dgm:prSet/>
      <dgm:spPr/>
      <dgm:t>
        <a:bodyPr/>
        <a:lstStyle/>
        <a:p>
          <a:endParaRPr lang="es-ES"/>
        </a:p>
      </dgm:t>
    </dgm:pt>
    <dgm:pt modelId="{B485BBA2-F902-4DB5-BA8D-21335A06FD7B}">
      <dgm:prSet phldr="0"/>
      <dgm:spPr>
        <a:xfrm>
          <a:off x="6938816" y="1466599"/>
          <a:ext cx="2092412" cy="1255447"/>
        </a:xfrm>
        <a:prstGeom prst="rect">
          <a:avLst/>
        </a:prstGeom>
        <a:gradFill rotWithShape="0">
          <a:gsLst>
            <a:gs pos="0">
              <a:srgbClr val="2DBA21">
                <a:hueOff val="0"/>
                <a:satOff val="0"/>
                <a:lumOff val="0"/>
                <a:alphaOff val="0"/>
                <a:shade val="85000"/>
                <a:satMod val="130000"/>
              </a:srgbClr>
            </a:gs>
            <a:gs pos="34000">
              <a:srgbClr val="2DBA21">
                <a:hueOff val="0"/>
                <a:satOff val="0"/>
                <a:lumOff val="0"/>
                <a:alphaOff val="0"/>
                <a:shade val="87000"/>
                <a:satMod val="125000"/>
              </a:srgbClr>
            </a:gs>
            <a:gs pos="70000">
              <a:srgbClr val="2DBA21"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rgbClr>
            </a:gs>
            <a:gs pos="100000">
              <a:srgbClr val="2DBA21"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rgb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38100" dist="25400" dir="2700000" algn="br" rotWithShape="0">
            <a:srgbClr val="000000">
              <a:alpha val="60000"/>
            </a:srgbClr>
          </a:outerShdw>
        </a:effectLst>
      </dgm:spPr>
      <dgm:t>
        <a:bodyPr/>
        <a:lstStyle/>
        <a:p>
          <a:pPr rtl="0"/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24. Herramientas </a:t>
          </a:r>
          <a:r>
            <a:rPr lang="es-ES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ofimáticas            </a:t>
          </a:r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 </a:t>
          </a:r>
          <a:endParaRPr lang="es-ES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gm:t>
    </dgm:pt>
    <dgm:pt modelId="{21A80CE1-7165-4406-8BDD-D5F8D35E2B83}" type="parTrans" cxnId="{40230BAA-B699-4829-AC65-85E40F348E6D}">
      <dgm:prSet/>
      <dgm:spPr/>
      <dgm:t>
        <a:bodyPr/>
        <a:lstStyle/>
        <a:p>
          <a:endParaRPr lang="es-CO"/>
        </a:p>
      </dgm:t>
    </dgm:pt>
    <dgm:pt modelId="{39BC37E8-CABA-4B4A-978E-05C5F9808AB0}" type="sibTrans" cxnId="{40230BAA-B699-4829-AC65-85E40F348E6D}">
      <dgm:prSet/>
      <dgm:spPr/>
      <dgm:t>
        <a:bodyPr/>
        <a:lstStyle/>
        <a:p>
          <a:endParaRPr lang="es-ES"/>
        </a:p>
      </dgm:t>
    </dgm:pt>
    <dgm:pt modelId="{9E1A57E5-8315-4035-83BB-73ED395DB33B}">
      <dgm:prSet phldr="0"/>
      <dgm:spPr>
        <a:xfrm>
          <a:off x="9240470" y="1466599"/>
          <a:ext cx="2092412" cy="1255447"/>
        </a:xfrm>
        <a:prstGeom prst="rect">
          <a:avLst/>
        </a:prstGeom>
        <a:gradFill rotWithShape="0">
          <a:gsLst>
            <a:gs pos="0">
              <a:srgbClr val="14B94C">
                <a:hueOff val="0"/>
                <a:satOff val="0"/>
                <a:lumOff val="0"/>
                <a:alphaOff val="0"/>
                <a:shade val="85000"/>
                <a:satMod val="130000"/>
              </a:srgbClr>
            </a:gs>
            <a:gs pos="34000">
              <a:srgbClr val="14B94C">
                <a:hueOff val="0"/>
                <a:satOff val="0"/>
                <a:lumOff val="0"/>
                <a:alphaOff val="0"/>
                <a:shade val="87000"/>
                <a:satMod val="125000"/>
              </a:srgbClr>
            </a:gs>
            <a:gs pos="70000">
              <a:srgbClr val="14B94C"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rgbClr>
            </a:gs>
            <a:gs pos="100000">
              <a:srgbClr val="14B94C"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rgb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38100" dist="25400" dir="2700000" algn="br" rotWithShape="0">
            <a:srgbClr val="000000">
              <a:alpha val="60000"/>
            </a:srgbClr>
          </a:outerShdw>
        </a:effectLst>
      </dgm:spPr>
      <dgm:t>
        <a:bodyPr/>
        <a:lstStyle/>
        <a:p>
          <a:pPr rtl="0"/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25. Inglés   </a:t>
          </a:r>
          <a:endParaRPr lang="es-ES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gm:t>
    </dgm:pt>
    <dgm:pt modelId="{E57E961D-5E3A-448D-9508-D275E2E03A93}" type="parTrans" cxnId="{38A1F1DA-3DB4-44D2-92B4-F5BDCECE82DA}">
      <dgm:prSet/>
      <dgm:spPr/>
      <dgm:t>
        <a:bodyPr/>
        <a:lstStyle/>
        <a:p>
          <a:endParaRPr lang="es-CO"/>
        </a:p>
      </dgm:t>
    </dgm:pt>
    <dgm:pt modelId="{B089D1EB-77F7-4386-80A6-8996141C623C}" type="sibTrans" cxnId="{38A1F1DA-3DB4-44D2-92B4-F5BDCECE82DA}">
      <dgm:prSet/>
      <dgm:spPr/>
      <dgm:t>
        <a:bodyPr/>
        <a:lstStyle/>
        <a:p>
          <a:endParaRPr lang="es-ES"/>
        </a:p>
      </dgm:t>
    </dgm:pt>
    <dgm:pt modelId="{EF2F83C6-635E-4F18-84D1-125C2493A8E3}">
      <dgm:prSet phldr="0"/>
      <dgm:spPr>
        <a:xfrm>
          <a:off x="2335509" y="2931287"/>
          <a:ext cx="2092412" cy="1255447"/>
        </a:xfrm>
        <a:prstGeom prst="rect">
          <a:avLst/>
        </a:prstGeom>
        <a:gradFill rotWithShape="0">
          <a:gsLst>
            <a:gs pos="0">
              <a:srgbClr val="D59617">
                <a:hueOff val="0"/>
                <a:satOff val="0"/>
                <a:lumOff val="0"/>
                <a:alphaOff val="0"/>
                <a:shade val="85000"/>
                <a:satMod val="130000"/>
              </a:srgbClr>
            </a:gs>
            <a:gs pos="34000">
              <a:srgbClr val="D59617">
                <a:hueOff val="0"/>
                <a:satOff val="0"/>
                <a:lumOff val="0"/>
                <a:alphaOff val="0"/>
                <a:shade val="87000"/>
                <a:satMod val="125000"/>
              </a:srgbClr>
            </a:gs>
            <a:gs pos="70000">
              <a:srgbClr val="D59617"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rgbClr>
            </a:gs>
            <a:gs pos="100000">
              <a:srgbClr val="D59617"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rgb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38100" dist="25400" dir="2700000" algn="br" rotWithShape="0">
            <a:srgbClr val="000000">
              <a:alpha val="60000"/>
            </a:srgbClr>
          </a:outerShdw>
        </a:effectLst>
      </dgm:spPr>
      <dgm:t>
        <a:bodyPr/>
        <a:lstStyle/>
        <a:p>
          <a:pPr rtl="0"/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26. </a:t>
          </a:r>
          <a:r>
            <a:rPr lang="es-ES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Negociación colectiva  </a:t>
          </a:r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 </a:t>
          </a:r>
        </a:p>
      </dgm:t>
    </dgm:pt>
    <dgm:pt modelId="{69AA0A60-793C-47ED-B597-7EA11BA93956}" type="parTrans" cxnId="{9E0474D9-FA75-4569-AE1B-0E57AD67C5B7}">
      <dgm:prSet/>
      <dgm:spPr/>
      <dgm:t>
        <a:bodyPr/>
        <a:lstStyle/>
        <a:p>
          <a:endParaRPr lang="es-CO"/>
        </a:p>
      </dgm:t>
    </dgm:pt>
    <dgm:pt modelId="{8F3C07B3-38C9-420E-9893-D4312C89F5C3}" type="sibTrans" cxnId="{9E0474D9-FA75-4569-AE1B-0E57AD67C5B7}">
      <dgm:prSet/>
      <dgm:spPr/>
      <dgm:t>
        <a:bodyPr/>
        <a:lstStyle/>
        <a:p>
          <a:endParaRPr lang="es-ES"/>
        </a:p>
      </dgm:t>
    </dgm:pt>
    <dgm:pt modelId="{5D749AC2-4148-43B0-95E5-CDAAB62CE32C}">
      <dgm:prSet phldr="0"/>
      <dgm:spPr>
        <a:xfrm>
          <a:off x="6938816" y="2931287"/>
          <a:ext cx="2092412" cy="1255447"/>
        </a:xfrm>
        <a:prstGeom prst="rect">
          <a:avLst/>
        </a:prstGeom>
        <a:gradFill rotWithShape="0">
          <a:gsLst>
            <a:gs pos="0">
              <a:srgbClr val="64B614">
                <a:hueOff val="0"/>
                <a:satOff val="0"/>
                <a:lumOff val="0"/>
                <a:alphaOff val="0"/>
                <a:shade val="85000"/>
                <a:satMod val="130000"/>
              </a:srgbClr>
            </a:gs>
            <a:gs pos="34000">
              <a:srgbClr val="64B614">
                <a:hueOff val="0"/>
                <a:satOff val="0"/>
                <a:lumOff val="0"/>
                <a:alphaOff val="0"/>
                <a:shade val="87000"/>
                <a:satMod val="125000"/>
              </a:srgbClr>
            </a:gs>
            <a:gs pos="70000">
              <a:srgbClr val="64B614"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rgbClr>
            </a:gs>
            <a:gs pos="100000">
              <a:srgbClr val="64B614"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rgb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38100" dist="25400" dir="2700000" algn="br" rotWithShape="0">
            <a:srgbClr val="000000">
              <a:alpha val="60000"/>
            </a:srgbClr>
          </a:outerShdw>
        </a:effectLst>
      </dgm:spPr>
      <dgm:t>
        <a:bodyPr/>
        <a:lstStyle/>
        <a:p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28.Otros</a:t>
          </a:r>
          <a:r>
            <a:rPr lang="es-ES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 tema de capacitación</a:t>
          </a:r>
        </a:p>
      </dgm:t>
    </dgm:pt>
    <dgm:pt modelId="{E606ABCA-A872-442E-9390-EF2ADB6342C5}" type="parTrans" cxnId="{E792D613-BA19-4710-A82F-04DF769C984B}">
      <dgm:prSet/>
      <dgm:spPr/>
      <dgm:t>
        <a:bodyPr/>
        <a:lstStyle/>
        <a:p>
          <a:endParaRPr lang="es-CO"/>
        </a:p>
      </dgm:t>
    </dgm:pt>
    <dgm:pt modelId="{03AEE6DA-AC01-4388-BA7B-4D39A7343943}" type="sibTrans" cxnId="{E792D613-BA19-4710-A82F-04DF769C984B}">
      <dgm:prSet/>
      <dgm:spPr/>
      <dgm:t>
        <a:bodyPr/>
        <a:lstStyle/>
        <a:p>
          <a:endParaRPr lang="en-US"/>
        </a:p>
      </dgm:t>
    </dgm:pt>
    <dgm:pt modelId="{827432AF-30F0-4D54-A232-81B1E9D1D78F}">
      <dgm:prSet phldr="0"/>
      <dgm:spPr>
        <a:xfrm>
          <a:off x="4637163" y="2931287"/>
          <a:ext cx="2092412" cy="1255447"/>
        </a:xfrm>
        <a:prstGeom prst="rect">
          <a:avLst/>
        </a:prstGeom>
        <a:gradFill rotWithShape="0">
          <a:gsLst>
            <a:gs pos="0">
              <a:srgbClr val="9EAA1E">
                <a:hueOff val="0"/>
                <a:satOff val="0"/>
                <a:lumOff val="0"/>
                <a:alphaOff val="0"/>
                <a:shade val="85000"/>
                <a:satMod val="130000"/>
              </a:srgbClr>
            </a:gs>
            <a:gs pos="34000">
              <a:srgbClr val="9EAA1E">
                <a:hueOff val="0"/>
                <a:satOff val="0"/>
                <a:lumOff val="0"/>
                <a:alphaOff val="0"/>
                <a:shade val="87000"/>
                <a:satMod val="125000"/>
              </a:srgbClr>
            </a:gs>
            <a:gs pos="70000">
              <a:srgbClr val="9EAA1E"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rgbClr>
            </a:gs>
            <a:gs pos="100000">
              <a:srgbClr val="9EAA1E"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rgb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38100" dist="25400" dir="2700000" algn="br" rotWithShape="0">
            <a:srgbClr val="000000">
              <a:alpha val="60000"/>
            </a:srgbClr>
          </a:outerShdw>
        </a:effectLst>
      </dgm:spPr>
      <dgm:t>
        <a:bodyPr/>
        <a:lstStyle/>
        <a:p>
          <a:pPr rtl="0"/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27. Habilidades</a:t>
          </a:r>
          <a:r>
            <a:rPr lang="es-ES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 blandas, entendidas como: “el resultado de una combinación de habilidades sociales, de comunicación, de forma de ser, de acercamiento a los demás, entre otras, que hacen a una persona</a:t>
          </a:r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 </a:t>
          </a:r>
          <a:endParaRPr lang="es-ES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gm:t>
    </dgm:pt>
    <dgm:pt modelId="{E933CB8A-4096-400C-B5DE-6C661F17815E}" type="parTrans" cxnId="{608A2871-78D6-484B-AD93-6D8CE5BD44C6}">
      <dgm:prSet/>
      <dgm:spPr/>
      <dgm:t>
        <a:bodyPr/>
        <a:lstStyle/>
        <a:p>
          <a:endParaRPr lang="es-CO"/>
        </a:p>
      </dgm:t>
    </dgm:pt>
    <dgm:pt modelId="{7AACF6B4-5C40-4B66-B833-AE605BEB72E1}" type="sibTrans" cxnId="{608A2871-78D6-484B-AD93-6D8CE5BD44C6}">
      <dgm:prSet/>
      <dgm:spPr/>
      <dgm:t>
        <a:bodyPr/>
        <a:lstStyle/>
        <a:p>
          <a:endParaRPr lang="es-ES"/>
        </a:p>
      </dgm:t>
    </dgm:pt>
    <dgm:pt modelId="{C185CD94-98E4-42B4-8D1C-F3CCEA4CD123}">
      <dgm:prSet phldr="0"/>
      <dgm:spPr>
        <a:xfrm>
          <a:off x="2335509" y="1910"/>
          <a:ext cx="2092412" cy="1255447"/>
        </a:xfrm>
        <a:prstGeom prst="rect">
          <a:avLst/>
        </a:prstGeom>
        <a:gradFill rotWithShape="0">
          <a:gsLst>
            <a:gs pos="0">
              <a:srgbClr val="9EAA1E">
                <a:hueOff val="0"/>
                <a:satOff val="0"/>
                <a:lumOff val="0"/>
                <a:alphaOff val="0"/>
                <a:shade val="85000"/>
                <a:satMod val="130000"/>
              </a:srgbClr>
            </a:gs>
            <a:gs pos="34000">
              <a:srgbClr val="9EAA1E">
                <a:hueOff val="0"/>
                <a:satOff val="0"/>
                <a:lumOff val="0"/>
                <a:alphaOff val="0"/>
                <a:shade val="87000"/>
                <a:satMod val="125000"/>
              </a:srgbClr>
            </a:gs>
            <a:gs pos="70000">
              <a:srgbClr val="9EAA1E"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rgbClr>
            </a:gs>
            <a:gs pos="100000">
              <a:srgbClr val="9EAA1E"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rgb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38100" dist="25400" dir="2700000" algn="br" rotWithShape="0">
            <a:srgbClr val="000000">
              <a:alpha val="60000"/>
            </a:srgbClr>
          </a:outerShdw>
        </a:effectLst>
      </dgm:spPr>
      <dgm:t>
        <a:bodyPr/>
        <a:lstStyle/>
        <a:p>
          <a:pPr rtl="0"/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17. Gestión</a:t>
          </a:r>
          <a:r>
            <a:rPr lang="es-ES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 Jurídica              </a:t>
          </a:r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 </a:t>
          </a:r>
          <a:endParaRPr lang="es-ES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gm:t>
    </dgm:pt>
    <dgm:pt modelId="{5C124306-27AA-43B8-B512-8426D0A06D7C}" type="parTrans" cxnId="{0E29EE7A-9413-4F92-BD44-60B1FEF7B3FE}">
      <dgm:prSet/>
      <dgm:spPr/>
      <dgm:t>
        <a:bodyPr/>
        <a:lstStyle/>
        <a:p>
          <a:endParaRPr lang="es-CO"/>
        </a:p>
      </dgm:t>
    </dgm:pt>
    <dgm:pt modelId="{3B9D5E5F-5EA7-4024-AADA-BBB7BBDCCBEF}" type="sibTrans" cxnId="{0E29EE7A-9413-4F92-BD44-60B1FEF7B3FE}">
      <dgm:prSet/>
      <dgm:spPr/>
      <dgm:t>
        <a:bodyPr/>
        <a:lstStyle/>
        <a:p>
          <a:endParaRPr lang="es-ES"/>
        </a:p>
      </dgm:t>
    </dgm:pt>
    <dgm:pt modelId="{B7C2B98C-AF1C-4912-82FD-23FA8EE84836}">
      <dgm:prSet phldr="0"/>
      <dgm:spPr>
        <a:xfrm>
          <a:off x="33856" y="1466599"/>
          <a:ext cx="2092412" cy="1255447"/>
        </a:xfrm>
        <a:prstGeom prst="rect">
          <a:avLst/>
        </a:prstGeom>
        <a:gradFill rotWithShape="0">
          <a:gsLst>
            <a:gs pos="0">
              <a:srgbClr val="D59617">
                <a:hueOff val="0"/>
                <a:satOff val="0"/>
                <a:lumOff val="0"/>
                <a:alphaOff val="0"/>
                <a:shade val="85000"/>
                <a:satMod val="130000"/>
              </a:srgbClr>
            </a:gs>
            <a:gs pos="34000">
              <a:srgbClr val="D59617">
                <a:hueOff val="0"/>
                <a:satOff val="0"/>
                <a:lumOff val="0"/>
                <a:alphaOff val="0"/>
                <a:shade val="87000"/>
                <a:satMod val="125000"/>
              </a:srgbClr>
            </a:gs>
            <a:gs pos="70000">
              <a:srgbClr val="D59617"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rgbClr>
            </a:gs>
            <a:gs pos="100000">
              <a:srgbClr val="D59617"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rgb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38100" dist="25400" dir="2700000" algn="br" rotWithShape="0">
            <a:srgbClr val="000000">
              <a:alpha val="60000"/>
            </a:srgbClr>
          </a:outerShdw>
        </a:effectLst>
      </dgm:spPr>
      <dgm:t>
        <a:bodyPr/>
        <a:lstStyle/>
        <a:p>
          <a:pPr rtl="0"/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21. Control</a:t>
          </a:r>
          <a:r>
            <a:rPr lang="es-ES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 interno disciplinario      </a:t>
          </a:r>
          <a:r>
            <a:rPr lang="es-E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 </a:t>
          </a:r>
          <a:endParaRPr lang="es-ES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gm:t>
    </dgm:pt>
    <dgm:pt modelId="{36109A21-D3C6-40E4-8AA7-87B3261F8843}" type="parTrans" cxnId="{AE71A53F-A113-4F9D-948C-FEB4D7CAAD6E}">
      <dgm:prSet/>
      <dgm:spPr/>
      <dgm:t>
        <a:bodyPr/>
        <a:lstStyle/>
        <a:p>
          <a:endParaRPr lang="es-CO"/>
        </a:p>
      </dgm:t>
    </dgm:pt>
    <dgm:pt modelId="{B36C96D8-6C26-44E7-AC36-4597A9A9650F}" type="sibTrans" cxnId="{AE71A53F-A113-4F9D-948C-FEB4D7CAAD6E}">
      <dgm:prSet/>
      <dgm:spPr/>
      <dgm:t>
        <a:bodyPr/>
        <a:lstStyle/>
        <a:p>
          <a:endParaRPr lang="es-CO"/>
        </a:p>
      </dgm:t>
    </dgm:pt>
    <dgm:pt modelId="{5C4ACFB1-794F-495E-AEC7-6D9EEC75936E}" type="pres">
      <dgm:prSet presAssocID="{DFF5413F-736C-414A-9B7A-68FCBC233727}" presName="diagram" presStyleCnt="0">
        <dgm:presLayoutVars>
          <dgm:dir/>
          <dgm:resizeHandles val="exact"/>
        </dgm:presLayoutVars>
      </dgm:prSet>
      <dgm:spPr/>
    </dgm:pt>
    <dgm:pt modelId="{FB60FAA7-5525-4111-A704-8F769EE83CE6}" type="pres">
      <dgm:prSet presAssocID="{E8B80BA6-39E1-4BFE-A2A5-57E9D1AA0EF3}" presName="node" presStyleLbl="node1" presStyleIdx="0" presStyleCnt="13">
        <dgm:presLayoutVars>
          <dgm:bulletEnabled val="1"/>
        </dgm:presLayoutVars>
      </dgm:prSet>
      <dgm:spPr/>
    </dgm:pt>
    <dgm:pt modelId="{9167A049-581F-4F46-BD51-AF371AD74105}" type="pres">
      <dgm:prSet presAssocID="{169E4FCA-A058-4293-B2D7-EB87245BCBC5}" presName="sibTrans" presStyleCnt="0"/>
      <dgm:spPr/>
    </dgm:pt>
    <dgm:pt modelId="{48C62C0E-A892-4871-9F2D-8DF80D750B48}" type="pres">
      <dgm:prSet presAssocID="{C185CD94-98E4-42B4-8D1C-F3CCEA4CD123}" presName="node" presStyleLbl="node1" presStyleIdx="1" presStyleCnt="13">
        <dgm:presLayoutVars>
          <dgm:bulletEnabled val="1"/>
        </dgm:presLayoutVars>
      </dgm:prSet>
      <dgm:spPr/>
    </dgm:pt>
    <dgm:pt modelId="{5C41D445-86CD-424B-8282-6931E57F518D}" type="pres">
      <dgm:prSet presAssocID="{3B9D5E5F-5EA7-4024-AADA-BBB7BBDCCBEF}" presName="sibTrans" presStyleCnt="0"/>
      <dgm:spPr/>
    </dgm:pt>
    <dgm:pt modelId="{5FBE1911-5DC5-4A98-96B4-4FB872B55D25}" type="pres">
      <dgm:prSet presAssocID="{8648DEF2-B775-403D-AE89-291740590E08}" presName="node" presStyleLbl="node1" presStyleIdx="2" presStyleCnt="13">
        <dgm:presLayoutVars>
          <dgm:bulletEnabled val="1"/>
        </dgm:presLayoutVars>
      </dgm:prSet>
      <dgm:spPr/>
    </dgm:pt>
    <dgm:pt modelId="{DEADABED-23B9-441B-8451-622009093387}" type="pres">
      <dgm:prSet presAssocID="{69E1080B-7AE9-4D25-AB94-66095F300955}" presName="sibTrans" presStyleCnt="0"/>
      <dgm:spPr/>
    </dgm:pt>
    <dgm:pt modelId="{7ED81068-EA0C-4B94-8913-010F8E0082A2}" type="pres">
      <dgm:prSet presAssocID="{24CF50D0-E350-4F4E-A09A-8BF311AD9836}" presName="node" presStyleLbl="node1" presStyleIdx="3" presStyleCnt="13">
        <dgm:presLayoutVars>
          <dgm:bulletEnabled val="1"/>
        </dgm:presLayoutVars>
      </dgm:prSet>
      <dgm:spPr/>
    </dgm:pt>
    <dgm:pt modelId="{ABFBA03E-D66E-4114-BF62-9475B9733FDB}" type="pres">
      <dgm:prSet presAssocID="{80885B17-5FFD-4FA2-9E43-A6FCB130834D}" presName="sibTrans" presStyleCnt="0"/>
      <dgm:spPr/>
    </dgm:pt>
    <dgm:pt modelId="{64C9221D-9F39-4E26-A59C-C54A19E870D3}" type="pres">
      <dgm:prSet presAssocID="{90E919F8-2487-4355-A331-51F15FDD9292}" presName="node" presStyleLbl="node1" presStyleIdx="4" presStyleCnt="13">
        <dgm:presLayoutVars>
          <dgm:bulletEnabled val="1"/>
        </dgm:presLayoutVars>
      </dgm:prSet>
      <dgm:spPr/>
    </dgm:pt>
    <dgm:pt modelId="{8057C934-2940-4B68-9D09-27B4D21566D0}" type="pres">
      <dgm:prSet presAssocID="{DC297E49-3318-4217-85DC-843D0E3D2B99}" presName="sibTrans" presStyleCnt="0"/>
      <dgm:spPr/>
    </dgm:pt>
    <dgm:pt modelId="{0EAE26D4-679E-434A-A99E-DB404C6D5BAE}" type="pres">
      <dgm:prSet presAssocID="{B7C2B98C-AF1C-4912-82FD-23FA8EE84836}" presName="node" presStyleLbl="node1" presStyleIdx="5" presStyleCnt="13">
        <dgm:presLayoutVars>
          <dgm:bulletEnabled val="1"/>
        </dgm:presLayoutVars>
      </dgm:prSet>
      <dgm:spPr/>
    </dgm:pt>
    <dgm:pt modelId="{21FF7619-96B8-485F-9190-BBBF766AD679}" type="pres">
      <dgm:prSet presAssocID="{B36C96D8-6C26-44E7-AC36-4597A9A9650F}" presName="sibTrans" presStyleCnt="0"/>
      <dgm:spPr/>
    </dgm:pt>
    <dgm:pt modelId="{021F4480-1133-45D1-B48D-49461618BC96}" type="pres">
      <dgm:prSet presAssocID="{D85D43B1-E5C5-4392-976B-2247E2BBDA0A}" presName="node" presStyleLbl="node1" presStyleIdx="6" presStyleCnt="13">
        <dgm:presLayoutVars>
          <dgm:bulletEnabled val="1"/>
        </dgm:presLayoutVars>
      </dgm:prSet>
      <dgm:spPr/>
    </dgm:pt>
    <dgm:pt modelId="{97538FE2-42A2-4985-AAD6-FD9B9EFAD17F}" type="pres">
      <dgm:prSet presAssocID="{9DF5CFF4-9E8B-46F9-BB5F-669FB0FB5030}" presName="sibTrans" presStyleCnt="0"/>
      <dgm:spPr/>
    </dgm:pt>
    <dgm:pt modelId="{4235DDAD-AEE3-4325-A357-89EE546FFE42}" type="pres">
      <dgm:prSet presAssocID="{C17D1506-8376-4128-97AA-29848758B1EF}" presName="node" presStyleLbl="node1" presStyleIdx="7" presStyleCnt="13">
        <dgm:presLayoutVars>
          <dgm:bulletEnabled val="1"/>
        </dgm:presLayoutVars>
      </dgm:prSet>
      <dgm:spPr/>
    </dgm:pt>
    <dgm:pt modelId="{08700F72-B0A8-481D-8ACE-59DB0DF965E6}" type="pres">
      <dgm:prSet presAssocID="{0942BFB6-2CC0-4DA9-A327-A83A1E239F16}" presName="sibTrans" presStyleCnt="0"/>
      <dgm:spPr/>
    </dgm:pt>
    <dgm:pt modelId="{AFE13D09-D859-4B99-8BB2-F2C498C6B49E}" type="pres">
      <dgm:prSet presAssocID="{B485BBA2-F902-4DB5-BA8D-21335A06FD7B}" presName="node" presStyleLbl="node1" presStyleIdx="8" presStyleCnt="13">
        <dgm:presLayoutVars>
          <dgm:bulletEnabled val="1"/>
        </dgm:presLayoutVars>
      </dgm:prSet>
      <dgm:spPr/>
    </dgm:pt>
    <dgm:pt modelId="{DA0E89EC-212F-4667-BEEC-B7F5CA97B2E2}" type="pres">
      <dgm:prSet presAssocID="{39BC37E8-CABA-4B4A-978E-05C5F9808AB0}" presName="sibTrans" presStyleCnt="0"/>
      <dgm:spPr/>
    </dgm:pt>
    <dgm:pt modelId="{53B4F1E9-A2C3-4CAB-B32A-8F6EB0E6E568}" type="pres">
      <dgm:prSet presAssocID="{9E1A57E5-8315-4035-83BB-73ED395DB33B}" presName="node" presStyleLbl="node1" presStyleIdx="9" presStyleCnt="13">
        <dgm:presLayoutVars>
          <dgm:bulletEnabled val="1"/>
        </dgm:presLayoutVars>
      </dgm:prSet>
      <dgm:spPr/>
    </dgm:pt>
    <dgm:pt modelId="{B53FF601-40ED-4AD9-B06E-C7D16B2CA36C}" type="pres">
      <dgm:prSet presAssocID="{B089D1EB-77F7-4386-80A6-8996141C623C}" presName="sibTrans" presStyleCnt="0"/>
      <dgm:spPr/>
    </dgm:pt>
    <dgm:pt modelId="{F86516D2-4723-4EDE-8380-A3005625E641}" type="pres">
      <dgm:prSet presAssocID="{EF2F83C6-635E-4F18-84D1-125C2493A8E3}" presName="node" presStyleLbl="node1" presStyleIdx="10" presStyleCnt="13">
        <dgm:presLayoutVars>
          <dgm:bulletEnabled val="1"/>
        </dgm:presLayoutVars>
      </dgm:prSet>
      <dgm:spPr/>
    </dgm:pt>
    <dgm:pt modelId="{2CF1413C-D718-4C4E-87B0-EF5C8889E54B}" type="pres">
      <dgm:prSet presAssocID="{8F3C07B3-38C9-420E-9893-D4312C89F5C3}" presName="sibTrans" presStyleCnt="0"/>
      <dgm:spPr/>
    </dgm:pt>
    <dgm:pt modelId="{CC5A4E90-6314-4A78-B62E-E22729A1117E}" type="pres">
      <dgm:prSet presAssocID="{827432AF-30F0-4D54-A232-81B1E9D1D78F}" presName="node" presStyleLbl="node1" presStyleIdx="11" presStyleCnt="13">
        <dgm:presLayoutVars>
          <dgm:bulletEnabled val="1"/>
        </dgm:presLayoutVars>
      </dgm:prSet>
      <dgm:spPr/>
    </dgm:pt>
    <dgm:pt modelId="{3313A66D-EA2C-436E-BE3E-99F17064E74A}" type="pres">
      <dgm:prSet presAssocID="{7AACF6B4-5C40-4B66-B833-AE605BEB72E1}" presName="sibTrans" presStyleCnt="0"/>
      <dgm:spPr/>
    </dgm:pt>
    <dgm:pt modelId="{842C77E7-E3C4-4A15-8E40-3AF9B7B26A79}" type="pres">
      <dgm:prSet presAssocID="{5D749AC2-4148-43B0-95E5-CDAAB62CE32C}" presName="node" presStyleLbl="node1" presStyleIdx="12" presStyleCnt="13">
        <dgm:presLayoutVars>
          <dgm:bulletEnabled val="1"/>
        </dgm:presLayoutVars>
      </dgm:prSet>
      <dgm:spPr/>
    </dgm:pt>
  </dgm:ptLst>
  <dgm:cxnLst>
    <dgm:cxn modelId="{B54FEE05-1259-4077-A70F-47BA788BBA73}" type="presOf" srcId="{D85D43B1-E5C5-4392-976B-2247E2BBDA0A}" destId="{021F4480-1133-45D1-B48D-49461618BC96}" srcOrd="0" destOrd="0" presId="urn:microsoft.com/office/officeart/2005/8/layout/default"/>
    <dgm:cxn modelId="{EC9E5307-1CF4-411F-BCBF-47223DE4364B}" type="presOf" srcId="{C185CD94-98E4-42B4-8D1C-F3CCEA4CD123}" destId="{48C62C0E-A892-4871-9F2D-8DF80D750B48}" srcOrd="0" destOrd="0" presId="urn:microsoft.com/office/officeart/2005/8/layout/default"/>
    <dgm:cxn modelId="{E792D613-BA19-4710-A82F-04DF769C984B}" srcId="{DFF5413F-736C-414A-9B7A-68FCBC233727}" destId="{5D749AC2-4148-43B0-95E5-CDAAB62CE32C}" srcOrd="12" destOrd="0" parTransId="{E606ABCA-A872-442E-9390-EF2ADB6342C5}" sibTransId="{03AEE6DA-AC01-4388-BA7B-4D39A7343943}"/>
    <dgm:cxn modelId="{96477714-1B56-4114-865D-4B283C9EB72A}" type="presOf" srcId="{B485BBA2-F902-4DB5-BA8D-21335A06FD7B}" destId="{AFE13D09-D859-4B99-8BB2-F2C498C6B49E}" srcOrd="0" destOrd="0" presId="urn:microsoft.com/office/officeart/2005/8/layout/default"/>
    <dgm:cxn modelId="{A700FD24-A714-4170-94CD-D4072F6B1E1D}" type="presOf" srcId="{B7C2B98C-AF1C-4912-82FD-23FA8EE84836}" destId="{0EAE26D4-679E-434A-A99E-DB404C6D5BAE}" srcOrd="0" destOrd="0" presId="urn:microsoft.com/office/officeart/2005/8/layout/default"/>
    <dgm:cxn modelId="{28E8F935-BC2D-44A1-AF5C-BBCA4F01DDCE}" type="presOf" srcId="{EF2F83C6-635E-4F18-84D1-125C2493A8E3}" destId="{F86516D2-4723-4EDE-8380-A3005625E641}" srcOrd="0" destOrd="0" presId="urn:microsoft.com/office/officeart/2005/8/layout/default"/>
    <dgm:cxn modelId="{AE71A53F-A113-4F9D-948C-FEB4D7CAAD6E}" srcId="{DFF5413F-736C-414A-9B7A-68FCBC233727}" destId="{B7C2B98C-AF1C-4912-82FD-23FA8EE84836}" srcOrd="5" destOrd="0" parTransId="{36109A21-D3C6-40E4-8AA7-87B3261F8843}" sibTransId="{B36C96D8-6C26-44E7-AC36-4597A9A9650F}"/>
    <dgm:cxn modelId="{E2CE9744-838C-4764-A2AD-2A0A6CA755D1}" type="presOf" srcId="{8648DEF2-B775-403D-AE89-291740590E08}" destId="{5FBE1911-5DC5-4A98-96B4-4FB872B55D25}" srcOrd="0" destOrd="0" presId="urn:microsoft.com/office/officeart/2005/8/layout/default"/>
    <dgm:cxn modelId="{D302C648-BB75-49AB-BBBA-5E2DF543D447}" type="presOf" srcId="{C17D1506-8376-4128-97AA-29848758B1EF}" destId="{4235DDAD-AEE3-4325-A357-89EE546FFE42}" srcOrd="0" destOrd="0" presId="urn:microsoft.com/office/officeart/2005/8/layout/default"/>
    <dgm:cxn modelId="{4BABD96D-8411-40C9-A958-52B1640F6A35}" type="presOf" srcId="{9E1A57E5-8315-4035-83BB-73ED395DB33B}" destId="{53B4F1E9-A2C3-4CAB-B32A-8F6EB0E6E568}" srcOrd="0" destOrd="0" presId="urn:microsoft.com/office/officeart/2005/8/layout/default"/>
    <dgm:cxn modelId="{608A2871-78D6-484B-AD93-6D8CE5BD44C6}" srcId="{DFF5413F-736C-414A-9B7A-68FCBC233727}" destId="{827432AF-30F0-4D54-A232-81B1E9D1D78F}" srcOrd="11" destOrd="0" parTransId="{E933CB8A-4096-400C-B5DE-6C661F17815E}" sibTransId="{7AACF6B4-5C40-4B66-B833-AE605BEB72E1}"/>
    <dgm:cxn modelId="{C11CC973-7D98-4331-BA01-CB4F5430349F}" srcId="{DFF5413F-736C-414A-9B7A-68FCBC233727}" destId="{E8B80BA6-39E1-4BFE-A2A5-57E9D1AA0EF3}" srcOrd="0" destOrd="0" parTransId="{34FF0914-E8BA-4B17-9A40-51A2715A855E}" sibTransId="{169E4FCA-A058-4293-B2D7-EB87245BCBC5}"/>
    <dgm:cxn modelId="{0E29EE7A-9413-4F92-BD44-60B1FEF7B3FE}" srcId="{DFF5413F-736C-414A-9B7A-68FCBC233727}" destId="{C185CD94-98E4-42B4-8D1C-F3CCEA4CD123}" srcOrd="1" destOrd="0" parTransId="{5C124306-27AA-43B8-B512-8426D0A06D7C}" sibTransId="{3B9D5E5F-5EA7-4024-AADA-BBB7BBDCCBEF}"/>
    <dgm:cxn modelId="{9D3F6285-DB8B-4999-A18D-D47E974939FE}" srcId="{DFF5413F-736C-414A-9B7A-68FCBC233727}" destId="{D85D43B1-E5C5-4392-976B-2247E2BBDA0A}" srcOrd="6" destOrd="0" parTransId="{4A25970F-A201-4384-B285-23E28BF97CAE}" sibTransId="{9DF5CFF4-9E8B-46F9-BB5F-669FB0FB5030}"/>
    <dgm:cxn modelId="{0CD4C089-E5DD-451B-B457-5130E4CC42A9}" type="presOf" srcId="{90E919F8-2487-4355-A331-51F15FDD9292}" destId="{64C9221D-9F39-4E26-A59C-C54A19E870D3}" srcOrd="0" destOrd="0" presId="urn:microsoft.com/office/officeart/2005/8/layout/default"/>
    <dgm:cxn modelId="{8DDDFC8B-183A-4E7C-8ED2-55C81B5F863D}" srcId="{DFF5413F-736C-414A-9B7A-68FCBC233727}" destId="{24CF50D0-E350-4F4E-A09A-8BF311AD9836}" srcOrd="3" destOrd="0" parTransId="{D229EDDF-843D-4E6D-A69C-F7DADE80156E}" sibTransId="{80885B17-5FFD-4FA2-9E43-A6FCB130834D}"/>
    <dgm:cxn modelId="{40230BAA-B699-4829-AC65-85E40F348E6D}" srcId="{DFF5413F-736C-414A-9B7A-68FCBC233727}" destId="{B485BBA2-F902-4DB5-BA8D-21335A06FD7B}" srcOrd="8" destOrd="0" parTransId="{21A80CE1-7165-4406-8BDD-D5F8D35E2B83}" sibTransId="{39BC37E8-CABA-4B4A-978E-05C5F9808AB0}"/>
    <dgm:cxn modelId="{FB49B9AF-36E8-4745-A48C-46CC4BC75A63}" type="presOf" srcId="{827432AF-30F0-4D54-A232-81B1E9D1D78F}" destId="{CC5A4E90-6314-4A78-B62E-E22729A1117E}" srcOrd="0" destOrd="0" presId="urn:microsoft.com/office/officeart/2005/8/layout/default"/>
    <dgm:cxn modelId="{C1958EBC-1598-4BEB-AF46-1D1264CC4C6B}" type="presOf" srcId="{5D749AC2-4148-43B0-95E5-CDAAB62CE32C}" destId="{842C77E7-E3C4-4A15-8E40-3AF9B7B26A79}" srcOrd="0" destOrd="0" presId="urn:microsoft.com/office/officeart/2005/8/layout/default"/>
    <dgm:cxn modelId="{EE430BBD-0521-44D0-A520-26DED419765A}" srcId="{DFF5413F-736C-414A-9B7A-68FCBC233727}" destId="{C17D1506-8376-4128-97AA-29848758B1EF}" srcOrd="7" destOrd="0" parTransId="{4BAAD2C3-8D47-4F76-A543-39F9DE77038D}" sibTransId="{0942BFB6-2CC0-4DA9-A327-A83A1E239F16}"/>
    <dgm:cxn modelId="{7974FAC1-7DC5-437D-A1CD-150EC1EB92F1}" type="presOf" srcId="{E8B80BA6-39E1-4BFE-A2A5-57E9D1AA0EF3}" destId="{FB60FAA7-5525-4111-A704-8F769EE83CE6}" srcOrd="0" destOrd="0" presId="urn:microsoft.com/office/officeart/2005/8/layout/default"/>
    <dgm:cxn modelId="{F6E0C5D8-ABB4-4D7B-8542-24A62D6F5913}" srcId="{DFF5413F-736C-414A-9B7A-68FCBC233727}" destId="{90E919F8-2487-4355-A331-51F15FDD9292}" srcOrd="4" destOrd="0" parTransId="{CC32D478-6E99-45CF-96E0-3F7960CB6473}" sibTransId="{DC297E49-3318-4217-85DC-843D0E3D2B99}"/>
    <dgm:cxn modelId="{9E0474D9-FA75-4569-AE1B-0E57AD67C5B7}" srcId="{DFF5413F-736C-414A-9B7A-68FCBC233727}" destId="{EF2F83C6-635E-4F18-84D1-125C2493A8E3}" srcOrd="10" destOrd="0" parTransId="{69AA0A60-793C-47ED-B597-7EA11BA93956}" sibTransId="{8F3C07B3-38C9-420E-9893-D4312C89F5C3}"/>
    <dgm:cxn modelId="{38A1F1DA-3DB4-44D2-92B4-F5BDCECE82DA}" srcId="{DFF5413F-736C-414A-9B7A-68FCBC233727}" destId="{9E1A57E5-8315-4035-83BB-73ED395DB33B}" srcOrd="9" destOrd="0" parTransId="{E57E961D-5E3A-448D-9508-D275E2E03A93}" sibTransId="{B089D1EB-77F7-4386-80A6-8996141C623C}"/>
    <dgm:cxn modelId="{4DBAA3DE-ECEA-4717-85D0-ADE3FC112E85}" type="presOf" srcId="{DFF5413F-736C-414A-9B7A-68FCBC233727}" destId="{5C4ACFB1-794F-495E-AEC7-6D9EEC75936E}" srcOrd="0" destOrd="0" presId="urn:microsoft.com/office/officeart/2005/8/layout/default"/>
    <dgm:cxn modelId="{DC52B0EC-285C-46A6-8052-3EF5F1549D79}" type="presOf" srcId="{24CF50D0-E350-4F4E-A09A-8BF311AD9836}" destId="{7ED81068-EA0C-4B94-8913-010F8E0082A2}" srcOrd="0" destOrd="0" presId="urn:microsoft.com/office/officeart/2005/8/layout/default"/>
    <dgm:cxn modelId="{67848FF2-C723-4D51-989D-88FFDD4EB191}" srcId="{DFF5413F-736C-414A-9B7A-68FCBC233727}" destId="{8648DEF2-B775-403D-AE89-291740590E08}" srcOrd="2" destOrd="0" parTransId="{09F20AA0-CE03-4870-B8CA-1727C43D5F4B}" sibTransId="{69E1080B-7AE9-4D25-AB94-66095F300955}"/>
    <dgm:cxn modelId="{9120F14C-088E-4BC9-AFDB-D2F10F2A147C}" type="presParOf" srcId="{5C4ACFB1-794F-495E-AEC7-6D9EEC75936E}" destId="{FB60FAA7-5525-4111-A704-8F769EE83CE6}" srcOrd="0" destOrd="0" presId="urn:microsoft.com/office/officeart/2005/8/layout/default"/>
    <dgm:cxn modelId="{B90CD73E-9AA2-48E4-91D3-28CF6082F7EC}" type="presParOf" srcId="{5C4ACFB1-794F-495E-AEC7-6D9EEC75936E}" destId="{9167A049-581F-4F46-BD51-AF371AD74105}" srcOrd="1" destOrd="0" presId="urn:microsoft.com/office/officeart/2005/8/layout/default"/>
    <dgm:cxn modelId="{3EA30441-CF1A-4E0A-BB0A-F06D90734BD8}" type="presParOf" srcId="{5C4ACFB1-794F-495E-AEC7-6D9EEC75936E}" destId="{48C62C0E-A892-4871-9F2D-8DF80D750B48}" srcOrd="2" destOrd="0" presId="urn:microsoft.com/office/officeart/2005/8/layout/default"/>
    <dgm:cxn modelId="{9C5544BC-C080-4842-939B-42233DC55B26}" type="presParOf" srcId="{5C4ACFB1-794F-495E-AEC7-6D9EEC75936E}" destId="{5C41D445-86CD-424B-8282-6931E57F518D}" srcOrd="3" destOrd="0" presId="urn:microsoft.com/office/officeart/2005/8/layout/default"/>
    <dgm:cxn modelId="{130A7955-25C5-49AE-976A-667A82FA2FEB}" type="presParOf" srcId="{5C4ACFB1-794F-495E-AEC7-6D9EEC75936E}" destId="{5FBE1911-5DC5-4A98-96B4-4FB872B55D25}" srcOrd="4" destOrd="0" presId="urn:microsoft.com/office/officeart/2005/8/layout/default"/>
    <dgm:cxn modelId="{47B30785-14C1-45E6-9E56-D57E879AC306}" type="presParOf" srcId="{5C4ACFB1-794F-495E-AEC7-6D9EEC75936E}" destId="{DEADABED-23B9-441B-8451-622009093387}" srcOrd="5" destOrd="0" presId="urn:microsoft.com/office/officeart/2005/8/layout/default"/>
    <dgm:cxn modelId="{9367C03E-7216-492B-925D-136B981BD6CF}" type="presParOf" srcId="{5C4ACFB1-794F-495E-AEC7-6D9EEC75936E}" destId="{7ED81068-EA0C-4B94-8913-010F8E0082A2}" srcOrd="6" destOrd="0" presId="urn:microsoft.com/office/officeart/2005/8/layout/default"/>
    <dgm:cxn modelId="{FFF57F6D-CA7E-41D3-951D-0E8AE067B19B}" type="presParOf" srcId="{5C4ACFB1-794F-495E-AEC7-6D9EEC75936E}" destId="{ABFBA03E-D66E-4114-BF62-9475B9733FDB}" srcOrd="7" destOrd="0" presId="urn:microsoft.com/office/officeart/2005/8/layout/default"/>
    <dgm:cxn modelId="{BF867035-8D42-4114-8DF6-AD9F1F2CC8DD}" type="presParOf" srcId="{5C4ACFB1-794F-495E-AEC7-6D9EEC75936E}" destId="{64C9221D-9F39-4E26-A59C-C54A19E870D3}" srcOrd="8" destOrd="0" presId="urn:microsoft.com/office/officeart/2005/8/layout/default"/>
    <dgm:cxn modelId="{49AD06C1-5349-483D-9065-C103F6619B5A}" type="presParOf" srcId="{5C4ACFB1-794F-495E-AEC7-6D9EEC75936E}" destId="{8057C934-2940-4B68-9D09-27B4D21566D0}" srcOrd="9" destOrd="0" presId="urn:microsoft.com/office/officeart/2005/8/layout/default"/>
    <dgm:cxn modelId="{58F5434C-344D-4F2F-8AD6-4952111DB990}" type="presParOf" srcId="{5C4ACFB1-794F-495E-AEC7-6D9EEC75936E}" destId="{0EAE26D4-679E-434A-A99E-DB404C6D5BAE}" srcOrd="10" destOrd="0" presId="urn:microsoft.com/office/officeart/2005/8/layout/default"/>
    <dgm:cxn modelId="{88EFDFD9-1A59-4DF9-933A-47E20F6C8DF6}" type="presParOf" srcId="{5C4ACFB1-794F-495E-AEC7-6D9EEC75936E}" destId="{21FF7619-96B8-485F-9190-BBBF766AD679}" srcOrd="11" destOrd="0" presId="urn:microsoft.com/office/officeart/2005/8/layout/default"/>
    <dgm:cxn modelId="{54F0FF11-84B3-4DD3-94F9-F7373DB2FE41}" type="presParOf" srcId="{5C4ACFB1-794F-495E-AEC7-6D9EEC75936E}" destId="{021F4480-1133-45D1-B48D-49461618BC96}" srcOrd="12" destOrd="0" presId="urn:microsoft.com/office/officeart/2005/8/layout/default"/>
    <dgm:cxn modelId="{04920681-EBE1-405F-BFEC-2D29032C9B8A}" type="presParOf" srcId="{5C4ACFB1-794F-495E-AEC7-6D9EEC75936E}" destId="{97538FE2-42A2-4985-AAD6-FD9B9EFAD17F}" srcOrd="13" destOrd="0" presId="urn:microsoft.com/office/officeart/2005/8/layout/default"/>
    <dgm:cxn modelId="{145CC40F-889C-43B1-BA47-4D1C326DDE9E}" type="presParOf" srcId="{5C4ACFB1-794F-495E-AEC7-6D9EEC75936E}" destId="{4235DDAD-AEE3-4325-A357-89EE546FFE42}" srcOrd="14" destOrd="0" presId="urn:microsoft.com/office/officeart/2005/8/layout/default"/>
    <dgm:cxn modelId="{E2B89F4F-C4A5-4E79-8732-CBDDB29D4E2A}" type="presParOf" srcId="{5C4ACFB1-794F-495E-AEC7-6D9EEC75936E}" destId="{08700F72-B0A8-481D-8ACE-59DB0DF965E6}" srcOrd="15" destOrd="0" presId="urn:microsoft.com/office/officeart/2005/8/layout/default"/>
    <dgm:cxn modelId="{A70220C9-9DEE-4883-BD7B-ECD57E79C70E}" type="presParOf" srcId="{5C4ACFB1-794F-495E-AEC7-6D9EEC75936E}" destId="{AFE13D09-D859-4B99-8BB2-F2C498C6B49E}" srcOrd="16" destOrd="0" presId="urn:microsoft.com/office/officeart/2005/8/layout/default"/>
    <dgm:cxn modelId="{CF4C07A5-3959-4864-BEDD-471C8AE0D21A}" type="presParOf" srcId="{5C4ACFB1-794F-495E-AEC7-6D9EEC75936E}" destId="{DA0E89EC-212F-4667-BEEC-B7F5CA97B2E2}" srcOrd="17" destOrd="0" presId="urn:microsoft.com/office/officeart/2005/8/layout/default"/>
    <dgm:cxn modelId="{A87C0ECD-5458-4387-A906-0BECA9C6ADDD}" type="presParOf" srcId="{5C4ACFB1-794F-495E-AEC7-6D9EEC75936E}" destId="{53B4F1E9-A2C3-4CAB-B32A-8F6EB0E6E568}" srcOrd="18" destOrd="0" presId="urn:microsoft.com/office/officeart/2005/8/layout/default"/>
    <dgm:cxn modelId="{B4A7862B-2824-4F11-80FE-0579D8D168A1}" type="presParOf" srcId="{5C4ACFB1-794F-495E-AEC7-6D9EEC75936E}" destId="{B53FF601-40ED-4AD9-B06E-C7D16B2CA36C}" srcOrd="19" destOrd="0" presId="urn:microsoft.com/office/officeart/2005/8/layout/default"/>
    <dgm:cxn modelId="{28EC734B-098E-4B14-AA14-69CCCD08778C}" type="presParOf" srcId="{5C4ACFB1-794F-495E-AEC7-6D9EEC75936E}" destId="{F86516D2-4723-4EDE-8380-A3005625E641}" srcOrd="20" destOrd="0" presId="urn:microsoft.com/office/officeart/2005/8/layout/default"/>
    <dgm:cxn modelId="{62C5E00D-52C2-43E1-9AAD-DFFAF9449832}" type="presParOf" srcId="{5C4ACFB1-794F-495E-AEC7-6D9EEC75936E}" destId="{2CF1413C-D718-4C4E-87B0-EF5C8889E54B}" srcOrd="21" destOrd="0" presId="urn:microsoft.com/office/officeart/2005/8/layout/default"/>
    <dgm:cxn modelId="{24D3E992-F6AC-440B-ABB6-A10B70A73F7E}" type="presParOf" srcId="{5C4ACFB1-794F-495E-AEC7-6D9EEC75936E}" destId="{CC5A4E90-6314-4A78-B62E-E22729A1117E}" srcOrd="22" destOrd="0" presId="urn:microsoft.com/office/officeart/2005/8/layout/default"/>
    <dgm:cxn modelId="{EFDA45D4-A95B-4EF7-8CAA-B56CB31E2979}" type="presParOf" srcId="{5C4ACFB1-794F-495E-AEC7-6D9EEC75936E}" destId="{3313A66D-EA2C-436E-BE3E-99F17064E74A}" srcOrd="23" destOrd="0" presId="urn:microsoft.com/office/officeart/2005/8/layout/default"/>
    <dgm:cxn modelId="{8928766D-C58B-4B1C-B369-568C13CF5840}" type="presParOf" srcId="{5C4ACFB1-794F-495E-AEC7-6D9EEC75936E}" destId="{842C77E7-E3C4-4A15-8E40-3AF9B7B26A79}" srcOrd="24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2866B64-18FD-40A5-9418-DF81A576F81D}" type="doc">
      <dgm:prSet loTypeId="urn:microsoft.com/office/officeart/2005/8/layout/vProcess5" loCatId="process" qsTypeId="urn:microsoft.com/office/officeart/2005/8/quickstyle/3d1" qsCatId="3D" csTypeId="urn:microsoft.com/office/officeart/2005/8/colors/accent6_3" csCatId="accent6" phldr="1"/>
      <dgm:spPr/>
      <dgm:t>
        <a:bodyPr/>
        <a:lstStyle/>
        <a:p>
          <a:endParaRPr lang="es-ES"/>
        </a:p>
      </dgm:t>
    </dgm:pt>
    <dgm:pt modelId="{4F284F93-D752-41EF-945E-872643412858}">
      <dgm:prSet/>
      <dgm:spPr>
        <a:xfrm>
          <a:off x="0" y="0"/>
          <a:ext cx="5588727" cy="1557745"/>
        </a:xfrm>
        <a:prstGeom prst="roundRect">
          <a:avLst>
            <a:gd name="adj" fmla="val 10000"/>
          </a:avLst>
        </a:prstGeom>
        <a:gradFill rotWithShape="0">
          <a:gsLst>
            <a:gs pos="0">
              <a:srgbClr val="14B94C">
                <a:shade val="80000"/>
                <a:hueOff val="0"/>
                <a:satOff val="0"/>
                <a:lumOff val="0"/>
                <a:alphaOff val="0"/>
                <a:shade val="85000"/>
                <a:satMod val="130000"/>
              </a:srgbClr>
            </a:gs>
            <a:gs pos="34000">
              <a:srgbClr val="14B94C">
                <a:shade val="80000"/>
                <a:hueOff val="0"/>
                <a:satOff val="0"/>
                <a:lumOff val="0"/>
                <a:alphaOff val="0"/>
                <a:shade val="87000"/>
                <a:satMod val="125000"/>
              </a:srgbClr>
            </a:gs>
            <a:gs pos="70000">
              <a:srgbClr val="14B94C">
                <a:shade val="80000"/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rgbClr>
            </a:gs>
            <a:gs pos="100000">
              <a:srgbClr val="14B94C">
                <a:shade val="80000"/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rgb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38100" dist="25400" dir="2700000" algn="br" rotWithShape="0">
            <a:srgbClr val="000000">
              <a:alpha val="60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gm:spPr>
      <dgm:t>
        <a:bodyPr/>
        <a:lstStyle/>
        <a:p>
          <a:pPr rtl="0"/>
          <a:r>
            <a:rPr lang="en-U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Encuesta</a:t>
          </a:r>
          <a:r>
            <a:rPr lang="en-US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 de necesidades de aprendizaje </a:t>
          </a:r>
          <a:r>
            <a:rPr lang="en-US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por dependencias</a:t>
          </a:r>
          <a:endParaRPr lang="es-ES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gm:t>
    </dgm:pt>
    <dgm:pt modelId="{6CCB0C00-D645-4BEA-98BF-D10D874C00DD}" type="parTrans" cxnId="{7C2C507C-6FC1-4DD9-B642-7407AB1A9F77}">
      <dgm:prSet/>
      <dgm:spPr/>
      <dgm:t>
        <a:bodyPr/>
        <a:lstStyle/>
        <a:p>
          <a:endParaRPr lang="es-ES"/>
        </a:p>
      </dgm:t>
    </dgm:pt>
    <dgm:pt modelId="{6AF36DE3-9E5A-47B5-9AF0-2415A04E20F5}" type="sibTrans" cxnId="{7C2C507C-6FC1-4DD9-B642-7407AB1A9F77}">
      <dgm:prSet/>
      <dgm:spPr>
        <a:xfrm>
          <a:off x="4576192" y="1224561"/>
          <a:ext cx="1012534" cy="1012534"/>
        </a:xfrm>
        <a:prstGeom prst="downArrow">
          <a:avLst>
            <a:gd name="adj1" fmla="val 55000"/>
            <a:gd name="adj2" fmla="val 45000"/>
          </a:avLst>
        </a:prstGeom>
        <a:solidFill>
          <a:srgbClr val="14B94C">
            <a:alpha val="90000"/>
            <a:tint val="4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14B94C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>
          <a:outerShdw blurRad="38100" dist="25400" dir="2700000" algn="br" rotWithShape="0">
            <a:srgbClr val="000000">
              <a:alpha val="60000"/>
            </a:srgbClr>
          </a:outerShdw>
        </a:effectLst>
        <a:scene3d>
          <a:camera prst="orthographicFront"/>
          <a:lightRig rig="flat" dir="t"/>
        </a:scene3d>
        <a:sp3d z="190500" extrusionH="12700" prstMaterial="plastic">
          <a:bevelT w="50800" h="50800"/>
        </a:sp3d>
      </dgm:spPr>
      <dgm:t>
        <a:bodyPr/>
        <a:lstStyle/>
        <a:p>
          <a:endParaRPr lang="es-ES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Tw Cen MT" panose="020F0502020204030204"/>
            <a:ea typeface="+mn-ea"/>
            <a:cs typeface="+mn-cs"/>
          </a:endParaRPr>
        </a:p>
      </dgm:t>
    </dgm:pt>
    <dgm:pt modelId="{57532D20-93E5-41BE-AE26-9C7CBAECD651}">
      <dgm:prSet phldr="0"/>
      <dgm:spPr>
        <a:xfrm>
          <a:off x="986245" y="1903911"/>
          <a:ext cx="5588727" cy="1557745"/>
        </a:xfrm>
        <a:prstGeom prst="roundRect">
          <a:avLst>
            <a:gd name="adj" fmla="val 10000"/>
          </a:avLst>
        </a:prstGeom>
        <a:gradFill rotWithShape="0">
          <a:gsLst>
            <a:gs pos="0">
              <a:srgbClr val="14B94C">
                <a:shade val="80000"/>
                <a:hueOff val="-625390"/>
                <a:satOff val="-42216"/>
                <a:lumOff val="34305"/>
                <a:alphaOff val="0"/>
                <a:shade val="85000"/>
                <a:satMod val="130000"/>
              </a:srgbClr>
            </a:gs>
            <a:gs pos="34000">
              <a:srgbClr val="14B94C">
                <a:shade val="80000"/>
                <a:hueOff val="-625390"/>
                <a:satOff val="-42216"/>
                <a:lumOff val="34305"/>
                <a:alphaOff val="0"/>
                <a:shade val="87000"/>
                <a:satMod val="125000"/>
              </a:srgbClr>
            </a:gs>
            <a:gs pos="70000">
              <a:srgbClr val="14B94C">
                <a:shade val="80000"/>
                <a:hueOff val="-625390"/>
                <a:satOff val="-42216"/>
                <a:lumOff val="34305"/>
                <a:alphaOff val="0"/>
                <a:tint val="100000"/>
                <a:shade val="90000"/>
                <a:satMod val="130000"/>
              </a:srgbClr>
            </a:gs>
            <a:gs pos="100000">
              <a:srgbClr val="14B94C">
                <a:shade val="80000"/>
                <a:hueOff val="-625390"/>
                <a:satOff val="-42216"/>
                <a:lumOff val="34305"/>
                <a:alphaOff val="0"/>
                <a:tint val="100000"/>
                <a:shade val="100000"/>
                <a:satMod val="110000"/>
              </a:srgb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38100" dist="25400" dir="2700000" algn="br" rotWithShape="0">
            <a:srgbClr val="000000">
              <a:alpha val="60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gm:spPr>
      <dgm:t>
        <a:bodyPr/>
        <a:lstStyle/>
        <a:p>
          <a:pPr rtl="0"/>
          <a:r>
            <a:rPr lang="en-US" b="1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23 temas de aprendizaje</a:t>
          </a:r>
          <a:endParaRPr lang="es-ES">
            <a:solidFill>
              <a:srgbClr val="FFFFFF"/>
            </a:solidFill>
            <a:latin typeface="Tw Cen MT" panose="020F0302020204030204"/>
            <a:ea typeface="+mn-ea"/>
            <a:cs typeface="+mn-cs"/>
          </a:endParaRPr>
        </a:p>
      </dgm:t>
    </dgm:pt>
    <dgm:pt modelId="{305AF9A8-C9A0-4CF6-9845-2F4EBEDE0255}" type="parTrans" cxnId="{FCD52956-76F2-47B7-966E-724DCE9FBA66}">
      <dgm:prSet/>
      <dgm:spPr/>
    </dgm:pt>
    <dgm:pt modelId="{B0290C44-BE92-46C6-AE79-7FC42078EA54}" type="sibTrans" cxnId="{FCD52956-76F2-47B7-966E-724DCE9FBA66}">
      <dgm:prSet/>
      <dgm:spPr/>
    </dgm:pt>
    <dgm:pt modelId="{7EE525A7-17D1-4847-99CB-86257D7E6268}" type="pres">
      <dgm:prSet presAssocID="{62866B64-18FD-40A5-9418-DF81A576F81D}" presName="outerComposite" presStyleCnt="0">
        <dgm:presLayoutVars>
          <dgm:chMax val="5"/>
          <dgm:dir/>
          <dgm:resizeHandles val="exact"/>
        </dgm:presLayoutVars>
      </dgm:prSet>
      <dgm:spPr/>
    </dgm:pt>
    <dgm:pt modelId="{58285F0E-756A-4EFF-B837-FE9048C62327}" type="pres">
      <dgm:prSet presAssocID="{62866B64-18FD-40A5-9418-DF81A576F81D}" presName="dummyMaxCanvas" presStyleCnt="0">
        <dgm:presLayoutVars/>
      </dgm:prSet>
      <dgm:spPr/>
    </dgm:pt>
    <dgm:pt modelId="{769DF197-EE0D-436E-8987-7B318102D3FA}" type="pres">
      <dgm:prSet presAssocID="{62866B64-18FD-40A5-9418-DF81A576F81D}" presName="TwoNodes_1" presStyleLbl="node1" presStyleIdx="0" presStyleCnt="2">
        <dgm:presLayoutVars>
          <dgm:bulletEnabled val="1"/>
        </dgm:presLayoutVars>
      </dgm:prSet>
      <dgm:spPr/>
    </dgm:pt>
    <dgm:pt modelId="{FD842C8F-9B60-4858-A306-8D7B8BAA8B26}" type="pres">
      <dgm:prSet presAssocID="{62866B64-18FD-40A5-9418-DF81A576F81D}" presName="TwoNodes_2" presStyleLbl="node1" presStyleIdx="1" presStyleCnt="2">
        <dgm:presLayoutVars>
          <dgm:bulletEnabled val="1"/>
        </dgm:presLayoutVars>
      </dgm:prSet>
      <dgm:spPr/>
    </dgm:pt>
    <dgm:pt modelId="{4D18822A-DD2E-46D3-8D4C-2FE5758E7FF7}" type="pres">
      <dgm:prSet presAssocID="{62866B64-18FD-40A5-9418-DF81A576F81D}" presName="TwoConn_1-2" presStyleLbl="fgAccFollowNode1" presStyleIdx="0" presStyleCnt="1">
        <dgm:presLayoutVars>
          <dgm:bulletEnabled val="1"/>
        </dgm:presLayoutVars>
      </dgm:prSet>
      <dgm:spPr/>
    </dgm:pt>
    <dgm:pt modelId="{FE49C71C-C219-4356-AD77-4E8CD9BF03A3}" type="pres">
      <dgm:prSet presAssocID="{62866B64-18FD-40A5-9418-DF81A576F81D}" presName="TwoNodes_1_text" presStyleLbl="node1" presStyleIdx="1" presStyleCnt="2">
        <dgm:presLayoutVars>
          <dgm:bulletEnabled val="1"/>
        </dgm:presLayoutVars>
      </dgm:prSet>
      <dgm:spPr/>
    </dgm:pt>
    <dgm:pt modelId="{D9DCC452-A508-45FF-BFCD-89A6F1E14CCB}" type="pres">
      <dgm:prSet presAssocID="{62866B64-18FD-40A5-9418-DF81A576F81D}" presName="TwoNodes_2_text" presStyleLbl="node1" presStyleIdx="1" presStyleCnt="2">
        <dgm:presLayoutVars>
          <dgm:bulletEnabled val="1"/>
        </dgm:presLayoutVars>
      </dgm:prSet>
      <dgm:spPr/>
    </dgm:pt>
  </dgm:ptLst>
  <dgm:cxnLst>
    <dgm:cxn modelId="{24608F3C-AF41-4763-86C1-F0F3FB8BD222}" type="presOf" srcId="{62866B64-18FD-40A5-9418-DF81A576F81D}" destId="{7EE525A7-17D1-4847-99CB-86257D7E6268}" srcOrd="0" destOrd="0" presId="urn:microsoft.com/office/officeart/2005/8/layout/vProcess5"/>
    <dgm:cxn modelId="{032B9B62-16FA-44F0-ACFC-675C34AA3233}" type="presOf" srcId="{57532D20-93E5-41BE-AE26-9C7CBAECD651}" destId="{D9DCC452-A508-45FF-BFCD-89A6F1E14CCB}" srcOrd="1" destOrd="0" presId="urn:microsoft.com/office/officeart/2005/8/layout/vProcess5"/>
    <dgm:cxn modelId="{FCD52956-76F2-47B7-966E-724DCE9FBA66}" srcId="{62866B64-18FD-40A5-9418-DF81A576F81D}" destId="{57532D20-93E5-41BE-AE26-9C7CBAECD651}" srcOrd="1" destOrd="0" parTransId="{305AF9A8-C9A0-4CF6-9845-2F4EBEDE0255}" sibTransId="{B0290C44-BE92-46C6-AE79-7FC42078EA54}"/>
    <dgm:cxn modelId="{7C2C507C-6FC1-4DD9-B642-7407AB1A9F77}" srcId="{62866B64-18FD-40A5-9418-DF81A576F81D}" destId="{4F284F93-D752-41EF-945E-872643412858}" srcOrd="0" destOrd="0" parTransId="{6CCB0C00-D645-4BEA-98BF-D10D874C00DD}" sibTransId="{6AF36DE3-9E5A-47B5-9AF0-2415A04E20F5}"/>
    <dgm:cxn modelId="{D8CCEA80-FD21-4821-860E-FAB7C2C1A4C6}" type="presOf" srcId="{6AF36DE3-9E5A-47B5-9AF0-2415A04E20F5}" destId="{4D18822A-DD2E-46D3-8D4C-2FE5758E7FF7}" srcOrd="0" destOrd="0" presId="urn:microsoft.com/office/officeart/2005/8/layout/vProcess5"/>
    <dgm:cxn modelId="{7C8C128D-4F35-4D6F-BBB4-B5A4D57569EF}" type="presOf" srcId="{57532D20-93E5-41BE-AE26-9C7CBAECD651}" destId="{FD842C8F-9B60-4858-A306-8D7B8BAA8B26}" srcOrd="0" destOrd="0" presId="urn:microsoft.com/office/officeart/2005/8/layout/vProcess5"/>
    <dgm:cxn modelId="{E10E34F7-72E6-407B-A9ED-63E196452505}" type="presOf" srcId="{4F284F93-D752-41EF-945E-872643412858}" destId="{769DF197-EE0D-436E-8987-7B318102D3FA}" srcOrd="0" destOrd="0" presId="urn:microsoft.com/office/officeart/2005/8/layout/vProcess5"/>
    <dgm:cxn modelId="{4AB6AAFA-FD85-406A-B4DB-CB31ADBDBEF1}" type="presOf" srcId="{4F284F93-D752-41EF-945E-872643412858}" destId="{FE49C71C-C219-4356-AD77-4E8CD9BF03A3}" srcOrd="1" destOrd="0" presId="urn:microsoft.com/office/officeart/2005/8/layout/vProcess5"/>
    <dgm:cxn modelId="{235F344D-1E33-4F8E-81CD-45E3D84CAE2A}" type="presParOf" srcId="{7EE525A7-17D1-4847-99CB-86257D7E6268}" destId="{58285F0E-756A-4EFF-B837-FE9048C62327}" srcOrd="0" destOrd="0" presId="urn:microsoft.com/office/officeart/2005/8/layout/vProcess5"/>
    <dgm:cxn modelId="{BF1BC21A-C267-4208-BA92-3BA1395AC559}" type="presParOf" srcId="{7EE525A7-17D1-4847-99CB-86257D7E6268}" destId="{769DF197-EE0D-436E-8987-7B318102D3FA}" srcOrd="1" destOrd="0" presId="urn:microsoft.com/office/officeart/2005/8/layout/vProcess5"/>
    <dgm:cxn modelId="{FA7FE3B7-DCF0-4D3B-92B7-0031BBA0CB19}" type="presParOf" srcId="{7EE525A7-17D1-4847-99CB-86257D7E6268}" destId="{FD842C8F-9B60-4858-A306-8D7B8BAA8B26}" srcOrd="2" destOrd="0" presId="urn:microsoft.com/office/officeart/2005/8/layout/vProcess5"/>
    <dgm:cxn modelId="{88363196-C211-4D0B-A930-C0A3EE141C9A}" type="presParOf" srcId="{7EE525A7-17D1-4847-99CB-86257D7E6268}" destId="{4D18822A-DD2E-46D3-8D4C-2FE5758E7FF7}" srcOrd="3" destOrd="0" presId="urn:microsoft.com/office/officeart/2005/8/layout/vProcess5"/>
    <dgm:cxn modelId="{DF7522E9-98B1-4751-9CA8-E856186AA17E}" type="presParOf" srcId="{7EE525A7-17D1-4847-99CB-86257D7E6268}" destId="{FE49C71C-C219-4356-AD77-4E8CD9BF03A3}" srcOrd="4" destOrd="0" presId="urn:microsoft.com/office/officeart/2005/8/layout/vProcess5"/>
    <dgm:cxn modelId="{96C61D1A-0872-4DA7-B821-E8AFB2097C3B}" type="presParOf" srcId="{7EE525A7-17D1-4847-99CB-86257D7E6268}" destId="{D9DCC452-A508-45FF-BFCD-89A6F1E14CCB}" srcOrd="5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2866B64-18FD-40A5-9418-DF81A576F81D}" type="doc">
      <dgm:prSet loTypeId="urn:microsoft.com/office/officeart/2005/8/layout/vProcess5" loCatId="process" qsTypeId="urn:microsoft.com/office/officeart/2005/8/quickstyle/simple2" qsCatId="simple" csTypeId="urn:microsoft.com/office/officeart/2005/8/colors/accent2_2" csCatId="accent2" phldr="1"/>
      <dgm:spPr/>
      <dgm:t>
        <a:bodyPr/>
        <a:lstStyle/>
        <a:p>
          <a:endParaRPr lang="es-ES"/>
        </a:p>
      </dgm:t>
    </dgm:pt>
    <dgm:pt modelId="{4F284F93-D752-41EF-945E-872643412858}">
      <dgm:prSet phldr="0"/>
      <dgm:spPr>
        <a:xfrm>
          <a:off x="0" y="807428"/>
          <a:ext cx="4455879" cy="1614857"/>
        </a:xfrm>
        <a:prstGeom prst="roundRect">
          <a:avLst>
            <a:gd name="adj" fmla="val 10000"/>
          </a:avLst>
        </a:prstGeom>
        <a:solidFill>
          <a:srgbClr val="D59617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US" b="0" i="0" u="none" strike="noStrike" cap="none" baseline="0" noProof="0">
              <a:solidFill>
                <a:srgbClr val="FFFFFF"/>
              </a:solidFill>
              <a:latin typeface="Tw Cen MT"/>
              <a:ea typeface="+mn-ea"/>
              <a:cs typeface="+mn-cs"/>
            </a:rPr>
            <a:t>Recomendaciones de la OCI y la OAP</a:t>
          </a:r>
        </a:p>
      </dgm:t>
    </dgm:pt>
    <dgm:pt modelId="{6CCB0C00-D645-4BEA-98BF-D10D874C00DD}" type="parTrans" cxnId="{7C2C507C-6FC1-4DD9-B642-7407AB1A9F77}">
      <dgm:prSet/>
      <dgm:spPr/>
      <dgm:t>
        <a:bodyPr/>
        <a:lstStyle/>
        <a:p>
          <a:endParaRPr lang="es-ES"/>
        </a:p>
      </dgm:t>
    </dgm:pt>
    <dgm:pt modelId="{6AF36DE3-9E5A-47B5-9AF0-2415A04E20F5}" type="sibTrans" cxnId="{7C2C507C-6FC1-4DD9-B642-7407AB1A9F77}">
      <dgm:prSet/>
      <dgm:spPr/>
      <dgm:t>
        <a:bodyPr/>
        <a:lstStyle/>
        <a:p>
          <a:endParaRPr lang="es-ES"/>
        </a:p>
      </dgm:t>
    </dgm:pt>
    <dgm:pt modelId="{1AF2EDE6-72EE-4EF3-956C-5D337EE78699}" type="pres">
      <dgm:prSet presAssocID="{62866B64-18FD-40A5-9418-DF81A576F81D}" presName="outerComposite" presStyleCnt="0">
        <dgm:presLayoutVars>
          <dgm:chMax val="5"/>
          <dgm:dir/>
          <dgm:resizeHandles val="exact"/>
        </dgm:presLayoutVars>
      </dgm:prSet>
      <dgm:spPr/>
    </dgm:pt>
    <dgm:pt modelId="{ED4827E6-DDD6-45CB-BAA4-D26E08597C7C}" type="pres">
      <dgm:prSet presAssocID="{62866B64-18FD-40A5-9418-DF81A576F81D}" presName="dummyMaxCanvas" presStyleCnt="0">
        <dgm:presLayoutVars/>
      </dgm:prSet>
      <dgm:spPr/>
    </dgm:pt>
    <dgm:pt modelId="{694A79C5-9CA5-4E46-B8F8-0B17F6DD84D0}" type="pres">
      <dgm:prSet presAssocID="{62866B64-18FD-40A5-9418-DF81A576F81D}" presName="OneNode_1" presStyleLbl="node1" presStyleIdx="0" presStyleCnt="1">
        <dgm:presLayoutVars>
          <dgm:bulletEnabled val="1"/>
        </dgm:presLayoutVars>
      </dgm:prSet>
      <dgm:spPr/>
    </dgm:pt>
  </dgm:ptLst>
  <dgm:cxnLst>
    <dgm:cxn modelId="{C47FB64C-555D-412D-81A5-C912235D02E6}" type="presOf" srcId="{4F284F93-D752-41EF-945E-872643412858}" destId="{694A79C5-9CA5-4E46-B8F8-0B17F6DD84D0}" srcOrd="0" destOrd="0" presId="urn:microsoft.com/office/officeart/2005/8/layout/vProcess5"/>
    <dgm:cxn modelId="{7C2C507C-6FC1-4DD9-B642-7407AB1A9F77}" srcId="{62866B64-18FD-40A5-9418-DF81A576F81D}" destId="{4F284F93-D752-41EF-945E-872643412858}" srcOrd="0" destOrd="0" parTransId="{6CCB0C00-D645-4BEA-98BF-D10D874C00DD}" sibTransId="{6AF36DE3-9E5A-47B5-9AF0-2415A04E20F5}"/>
    <dgm:cxn modelId="{EF97F2CA-4BE2-4917-86C8-C7C7F3D5A5E6}" type="presOf" srcId="{62866B64-18FD-40A5-9418-DF81A576F81D}" destId="{1AF2EDE6-72EE-4EF3-956C-5D337EE78699}" srcOrd="0" destOrd="0" presId="urn:microsoft.com/office/officeart/2005/8/layout/vProcess5"/>
    <dgm:cxn modelId="{EE0732B6-04AF-4EC0-A0B3-836ADCF19C4E}" type="presParOf" srcId="{1AF2EDE6-72EE-4EF3-956C-5D337EE78699}" destId="{ED4827E6-DDD6-45CB-BAA4-D26E08597C7C}" srcOrd="0" destOrd="0" presId="urn:microsoft.com/office/officeart/2005/8/layout/vProcess5"/>
    <dgm:cxn modelId="{2753679E-657D-427F-83BC-805F51E57D28}" type="presParOf" srcId="{1AF2EDE6-72EE-4EF3-956C-5D337EE78699}" destId="{694A79C5-9CA5-4E46-B8F8-0B17F6DD84D0}" srcOrd="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EBF2E27-8DA4-4B46-B0E2-C75F5563F7CD}">
      <dsp:nvSpPr>
        <dsp:cNvPr id="0" name=""/>
        <dsp:cNvSpPr/>
      </dsp:nvSpPr>
      <dsp:spPr>
        <a:xfrm>
          <a:off x="1163388" y="1575317"/>
          <a:ext cx="810000" cy="810000"/>
        </a:xfrm>
        <a:prstGeom prst="rect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BE969F9-2FA4-4A0F-A484-A0A20BFC277D}">
      <dsp:nvSpPr>
        <dsp:cNvPr id="0" name=""/>
        <dsp:cNvSpPr/>
      </dsp:nvSpPr>
      <dsp:spPr>
        <a:xfrm>
          <a:off x="668388" y="2684081"/>
          <a:ext cx="180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100" kern="1200"/>
            <a:t>•Encuesta de  necesidades de aprendizaje individual</a:t>
          </a:r>
        </a:p>
      </dsp:txBody>
      <dsp:txXfrm>
        <a:off x="668388" y="2684081"/>
        <a:ext cx="1800000" cy="720000"/>
      </dsp:txXfrm>
    </dsp:sp>
    <dsp:sp modelId="{16595E1D-E435-4226-B743-921921EB5323}">
      <dsp:nvSpPr>
        <dsp:cNvPr id="0" name=""/>
        <dsp:cNvSpPr/>
      </dsp:nvSpPr>
      <dsp:spPr>
        <a:xfrm>
          <a:off x="3278388" y="1575317"/>
          <a:ext cx="810000" cy="810000"/>
        </a:xfrm>
        <a:prstGeom prst="rect">
          <a:avLst/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D0E925D-05CB-44A6-988E-FF45AC304116}">
      <dsp:nvSpPr>
        <dsp:cNvPr id="0" name=""/>
        <dsp:cNvSpPr/>
      </dsp:nvSpPr>
      <dsp:spPr>
        <a:xfrm>
          <a:off x="2783388" y="2684081"/>
          <a:ext cx="180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100" kern="1200"/>
            <a:t>•Encuesta de necesidades de aprendizaje por dependencias</a:t>
          </a:r>
        </a:p>
      </dsp:txBody>
      <dsp:txXfrm>
        <a:off x="2783388" y="2684081"/>
        <a:ext cx="1800000" cy="720000"/>
      </dsp:txXfrm>
    </dsp:sp>
    <dsp:sp modelId="{AD9AB47E-EE0C-4B0F-9D8B-E9A55EC53F79}">
      <dsp:nvSpPr>
        <dsp:cNvPr id="0" name=""/>
        <dsp:cNvSpPr/>
      </dsp:nvSpPr>
      <dsp:spPr>
        <a:xfrm>
          <a:off x="5393388" y="1575317"/>
          <a:ext cx="810000" cy="810000"/>
        </a:xfrm>
        <a:prstGeom prst="rect">
          <a:avLst/>
        </a:prstGeom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F7A5B48-47EE-49D9-A55A-98D58C84765B}">
      <dsp:nvSpPr>
        <dsp:cNvPr id="0" name=""/>
        <dsp:cNvSpPr/>
      </dsp:nvSpPr>
      <dsp:spPr>
        <a:xfrm>
          <a:off x="4898388" y="2684081"/>
          <a:ext cx="180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100" kern="1200"/>
            <a:t>•Recomendaciones de la Oficina Asesora de Planeación y la Oficina de Control Interno</a:t>
          </a:r>
        </a:p>
      </dsp:txBody>
      <dsp:txXfrm>
        <a:off x="4898388" y="2684081"/>
        <a:ext cx="1800000" cy="720000"/>
      </dsp:txXfrm>
    </dsp:sp>
    <dsp:sp modelId="{B0D50248-97B6-43AB-970F-A22280BC80D2}">
      <dsp:nvSpPr>
        <dsp:cNvPr id="0" name=""/>
        <dsp:cNvSpPr/>
      </dsp:nvSpPr>
      <dsp:spPr>
        <a:xfrm>
          <a:off x="7508388" y="1575317"/>
          <a:ext cx="810000" cy="810000"/>
        </a:xfrm>
        <a:prstGeom prst="rect">
          <a:avLst/>
        </a:prstGeom>
        <a:blipFill>
          <a:blip xmlns:r="http://schemas.openxmlformats.org/officeDocument/2006/relationships"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BDC3FA8-DD0A-4CE3-A11F-725F9C312AD2}">
      <dsp:nvSpPr>
        <dsp:cNvPr id="0" name=""/>
        <dsp:cNvSpPr/>
      </dsp:nvSpPr>
      <dsp:spPr>
        <a:xfrm>
          <a:off x="7013388" y="2684081"/>
          <a:ext cx="180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100" kern="1200"/>
            <a:t>•Resultados de la evaluación de desempeño </a:t>
          </a:r>
        </a:p>
      </dsp:txBody>
      <dsp:txXfrm>
        <a:off x="7013388" y="2684081"/>
        <a:ext cx="1800000" cy="720000"/>
      </dsp:txXfrm>
    </dsp:sp>
    <dsp:sp modelId="{9348BEFC-0AA2-4A20-946B-1AFF799A5E15}">
      <dsp:nvSpPr>
        <dsp:cNvPr id="0" name=""/>
        <dsp:cNvSpPr/>
      </dsp:nvSpPr>
      <dsp:spPr>
        <a:xfrm>
          <a:off x="9623388" y="1575317"/>
          <a:ext cx="810000" cy="810000"/>
        </a:xfrm>
        <a:prstGeom prst="rect">
          <a:avLst/>
        </a:prstGeom>
        <a:blipFill>
          <a:blip xmlns:r="http://schemas.openxmlformats.org/officeDocument/2006/relationships"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A9F37AE-95D4-430E-8666-4D2E793D049C}">
      <dsp:nvSpPr>
        <dsp:cNvPr id="0" name=""/>
        <dsp:cNvSpPr/>
      </dsp:nvSpPr>
      <dsp:spPr>
        <a:xfrm>
          <a:off x="9128388" y="2684081"/>
          <a:ext cx="180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100" kern="1200"/>
            <a:t>•Plan Operativo de la entidad  </a:t>
          </a:r>
        </a:p>
      </dsp:txBody>
      <dsp:txXfrm>
        <a:off x="9128388" y="2684081"/>
        <a:ext cx="1800000" cy="7200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D3EDF1B-5E6C-4DDC-B74C-1E58315D5E9C}">
      <dsp:nvSpPr>
        <dsp:cNvPr id="0" name=""/>
        <dsp:cNvSpPr/>
      </dsp:nvSpPr>
      <dsp:spPr>
        <a:xfrm>
          <a:off x="0" y="0"/>
          <a:ext cx="5273479" cy="1379738"/>
        </a:xfrm>
        <a:prstGeom prst="roundRect">
          <a:avLst>
            <a:gd name="adj" fmla="val 10000"/>
          </a:avLst>
        </a:prstGeom>
        <a:gradFill rotWithShape="0">
          <a:gsLst>
            <a:gs pos="0">
              <a:srgbClr val="D59617">
                <a:shade val="80000"/>
                <a:hueOff val="0"/>
                <a:satOff val="0"/>
                <a:lumOff val="0"/>
                <a:alphaOff val="0"/>
                <a:shade val="85000"/>
                <a:satMod val="130000"/>
              </a:srgbClr>
            </a:gs>
            <a:gs pos="34000">
              <a:srgbClr val="D59617">
                <a:shade val="80000"/>
                <a:hueOff val="0"/>
                <a:satOff val="0"/>
                <a:lumOff val="0"/>
                <a:alphaOff val="0"/>
                <a:shade val="87000"/>
                <a:satMod val="125000"/>
              </a:srgbClr>
            </a:gs>
            <a:gs pos="70000">
              <a:srgbClr val="D59617">
                <a:shade val="80000"/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rgbClr>
            </a:gs>
            <a:gs pos="100000">
              <a:srgbClr val="D59617">
                <a:shade val="80000"/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rgb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38100" dist="25400" dir="2700000" algn="br" rotWithShape="0">
            <a:srgbClr val="000000">
              <a:alpha val="60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Encuesta</a:t>
          </a:r>
          <a:r>
            <a:rPr lang="en-US" sz="2800" kern="1200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 de necesidades de aprendizaje individual</a:t>
          </a:r>
          <a:endParaRPr lang="es-ES" sz="2800" kern="1200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sp:txBody>
      <dsp:txXfrm>
        <a:off x="40411" y="40411"/>
        <a:ext cx="3847412" cy="1298916"/>
      </dsp:txXfrm>
    </dsp:sp>
    <dsp:sp modelId="{54563F58-1DB7-4B60-9053-C4F845816888}">
      <dsp:nvSpPr>
        <dsp:cNvPr id="0" name=""/>
        <dsp:cNvSpPr/>
      </dsp:nvSpPr>
      <dsp:spPr>
        <a:xfrm>
          <a:off x="930613" y="1686346"/>
          <a:ext cx="5273479" cy="1379738"/>
        </a:xfrm>
        <a:prstGeom prst="roundRect">
          <a:avLst>
            <a:gd name="adj" fmla="val 10000"/>
          </a:avLst>
        </a:prstGeom>
        <a:gradFill rotWithShape="0">
          <a:gsLst>
            <a:gs pos="0">
              <a:srgbClr val="D59617">
                <a:shade val="80000"/>
                <a:hueOff val="-544723"/>
                <a:satOff val="-23989"/>
                <a:lumOff val="32225"/>
                <a:alphaOff val="0"/>
                <a:shade val="85000"/>
                <a:satMod val="130000"/>
              </a:srgbClr>
            </a:gs>
            <a:gs pos="34000">
              <a:srgbClr val="D59617">
                <a:shade val="80000"/>
                <a:hueOff val="-544723"/>
                <a:satOff val="-23989"/>
                <a:lumOff val="32225"/>
                <a:alphaOff val="0"/>
                <a:shade val="87000"/>
                <a:satMod val="125000"/>
              </a:srgbClr>
            </a:gs>
            <a:gs pos="70000">
              <a:srgbClr val="D59617">
                <a:shade val="80000"/>
                <a:hueOff val="-544723"/>
                <a:satOff val="-23989"/>
                <a:lumOff val="32225"/>
                <a:alphaOff val="0"/>
                <a:tint val="100000"/>
                <a:shade val="90000"/>
                <a:satMod val="130000"/>
              </a:srgbClr>
            </a:gs>
            <a:gs pos="100000">
              <a:srgbClr val="D59617">
                <a:shade val="80000"/>
                <a:hueOff val="-544723"/>
                <a:satOff val="-23989"/>
                <a:lumOff val="32225"/>
                <a:alphaOff val="0"/>
                <a:tint val="100000"/>
                <a:shade val="100000"/>
                <a:satMod val="110000"/>
              </a:srgb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38100" dist="25400" dir="2700000" algn="br" rotWithShape="0">
            <a:srgbClr val="000000">
              <a:alpha val="60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1" kern="1200" dirty="0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28 </a:t>
          </a:r>
          <a:r>
            <a:rPr lang="en-US" sz="2800" b="1" kern="1200" dirty="0" err="1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lineas</a:t>
          </a:r>
          <a:r>
            <a:rPr lang="en-US" sz="2800" b="1" kern="1200" dirty="0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 de </a:t>
          </a:r>
          <a:r>
            <a:rPr lang="en-US" sz="2800" b="1" kern="1200" dirty="0" err="1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conocimiento</a:t>
          </a:r>
          <a:r>
            <a:rPr lang="en-US" sz="2800" b="1" kern="1200" dirty="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 </a:t>
          </a:r>
          <a:r>
            <a:rPr lang="en-US" sz="2800" b="1" kern="1200" dirty="0" err="1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consultadas</a:t>
          </a:r>
          <a:endParaRPr lang="es-ES" sz="2800" kern="1200" dirty="0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sp:txBody>
      <dsp:txXfrm>
        <a:off x="971024" y="1726757"/>
        <a:ext cx="3365213" cy="1298916"/>
      </dsp:txXfrm>
    </dsp:sp>
    <dsp:sp modelId="{3A830E3D-0B77-4F34-8062-707329B05AA6}">
      <dsp:nvSpPr>
        <dsp:cNvPr id="0" name=""/>
        <dsp:cNvSpPr/>
      </dsp:nvSpPr>
      <dsp:spPr>
        <a:xfrm>
          <a:off x="4376649" y="1084627"/>
          <a:ext cx="896829" cy="896829"/>
        </a:xfrm>
        <a:prstGeom prst="downArrow">
          <a:avLst>
            <a:gd name="adj1" fmla="val 55000"/>
            <a:gd name="adj2" fmla="val 45000"/>
          </a:avLst>
        </a:prstGeom>
        <a:solidFill>
          <a:srgbClr val="D59617">
            <a:alpha val="90000"/>
            <a:tint val="4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D59617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>
          <a:outerShdw blurRad="38100" dist="25400" dir="2700000" algn="br" rotWithShape="0">
            <a:srgbClr val="000000">
              <a:alpha val="60000"/>
            </a:srgbClr>
          </a:outerShdw>
        </a:effectLst>
        <a:scene3d>
          <a:camera prst="orthographicFront"/>
          <a:lightRig rig="flat" dir="t"/>
        </a:scene3d>
        <a:sp3d z="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3600" kern="12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Tw Cen MT" panose="020F0502020204030204"/>
            <a:ea typeface="+mn-ea"/>
            <a:cs typeface="+mn-cs"/>
          </a:endParaRPr>
        </a:p>
      </dsp:txBody>
      <dsp:txXfrm>
        <a:off x="4578436" y="1084627"/>
        <a:ext cx="493255" cy="67486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8A9B6A-8EC2-4D2D-B4AE-F3BC68FC0F2E}">
      <dsp:nvSpPr>
        <dsp:cNvPr id="0" name=""/>
        <dsp:cNvSpPr/>
      </dsp:nvSpPr>
      <dsp:spPr>
        <a:xfrm>
          <a:off x="307337" y="1759"/>
          <a:ext cx="2070997" cy="1242598"/>
        </a:xfrm>
        <a:prstGeom prst="rect">
          <a:avLst/>
        </a:prstGeom>
        <a:solidFill>
          <a:srgbClr val="D59617">
            <a:hueOff val="0"/>
            <a:satOff val="0"/>
            <a:lumOff val="0"/>
            <a:alphaOff val="0"/>
          </a:srgbClr>
        </a:solidFill>
        <a:ln w="1587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5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1. Plan</a:t>
          </a:r>
          <a:r>
            <a:rPr lang="es-ES" sz="1500" kern="1200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 Nacional de Desarrollo        </a:t>
          </a:r>
          <a:endParaRPr lang="en-US" sz="1500" kern="1200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sp:txBody>
      <dsp:txXfrm>
        <a:off x="307337" y="1759"/>
        <a:ext cx="2070997" cy="1242598"/>
      </dsp:txXfrm>
    </dsp:sp>
    <dsp:sp modelId="{04B3C3CF-E850-4513-96D8-A1A12493A486}">
      <dsp:nvSpPr>
        <dsp:cNvPr id="0" name=""/>
        <dsp:cNvSpPr/>
      </dsp:nvSpPr>
      <dsp:spPr>
        <a:xfrm>
          <a:off x="2585434" y="1759"/>
          <a:ext cx="2070997" cy="1242598"/>
        </a:xfrm>
        <a:prstGeom prst="rect">
          <a:avLst/>
        </a:prstGeom>
        <a:solidFill>
          <a:srgbClr val="9EAA1E">
            <a:hueOff val="0"/>
            <a:satOff val="0"/>
            <a:lumOff val="0"/>
            <a:alphaOff val="0"/>
          </a:srgbClr>
        </a:solidFill>
        <a:ln w="1587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5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2. Políticas </a:t>
          </a:r>
          <a:r>
            <a:rPr lang="es-ES" sz="1500" kern="1200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gubernamentales para el sector transporte</a:t>
          </a:r>
          <a:r>
            <a:rPr lang="es-ES" sz="15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 </a:t>
          </a:r>
          <a:endParaRPr lang="en-US" sz="1500" kern="1200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sp:txBody>
      <dsp:txXfrm>
        <a:off x="2585434" y="1759"/>
        <a:ext cx="2070997" cy="1242598"/>
      </dsp:txXfrm>
    </dsp:sp>
    <dsp:sp modelId="{B7BE46CB-4CAE-43EE-AE3F-ED2C6B7FC2C7}">
      <dsp:nvSpPr>
        <dsp:cNvPr id="0" name=""/>
        <dsp:cNvSpPr/>
      </dsp:nvSpPr>
      <dsp:spPr>
        <a:xfrm>
          <a:off x="4863531" y="1759"/>
          <a:ext cx="2070997" cy="1242598"/>
        </a:xfrm>
        <a:prstGeom prst="rect">
          <a:avLst/>
        </a:prstGeom>
        <a:solidFill>
          <a:srgbClr val="64B614">
            <a:hueOff val="0"/>
            <a:satOff val="0"/>
            <a:lumOff val="0"/>
            <a:alphaOff val="0"/>
          </a:srgbClr>
        </a:solidFill>
        <a:ln w="1587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5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3. </a:t>
          </a:r>
          <a:r>
            <a:rPr lang="es-ES" sz="1500" kern="1200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Estrategias de comunicación interna y externa</a:t>
          </a:r>
          <a:r>
            <a:rPr lang="es-ES" sz="15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 </a:t>
          </a:r>
          <a:endParaRPr lang="en-US" sz="1500" kern="1200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sp:txBody>
      <dsp:txXfrm>
        <a:off x="4863531" y="1759"/>
        <a:ext cx="2070997" cy="1242598"/>
      </dsp:txXfrm>
    </dsp:sp>
    <dsp:sp modelId="{EAA455EA-60AF-4DF5-8049-513B29C87B5C}">
      <dsp:nvSpPr>
        <dsp:cNvPr id="0" name=""/>
        <dsp:cNvSpPr/>
      </dsp:nvSpPr>
      <dsp:spPr>
        <a:xfrm>
          <a:off x="7141628" y="1759"/>
          <a:ext cx="2070997" cy="1242598"/>
        </a:xfrm>
        <a:prstGeom prst="rect">
          <a:avLst/>
        </a:prstGeom>
        <a:solidFill>
          <a:srgbClr val="2DBA21">
            <a:hueOff val="0"/>
            <a:satOff val="0"/>
            <a:lumOff val="0"/>
            <a:alphaOff val="0"/>
          </a:srgbClr>
        </a:solidFill>
        <a:ln w="1587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5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4. Contratación </a:t>
          </a:r>
          <a:r>
            <a:rPr lang="es-ES" sz="1500" kern="1200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Estatal      </a:t>
          </a:r>
          <a:r>
            <a:rPr lang="es-ES" sz="15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 </a:t>
          </a:r>
          <a:endParaRPr lang="en-US" sz="1500" kern="1200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sp:txBody>
      <dsp:txXfrm>
        <a:off x="7141628" y="1759"/>
        <a:ext cx="2070997" cy="1242598"/>
      </dsp:txXfrm>
    </dsp:sp>
    <dsp:sp modelId="{F8FBAA03-2AA1-4CE4-9671-F4FAF96DD0BF}">
      <dsp:nvSpPr>
        <dsp:cNvPr id="0" name=""/>
        <dsp:cNvSpPr/>
      </dsp:nvSpPr>
      <dsp:spPr>
        <a:xfrm>
          <a:off x="9419725" y="1759"/>
          <a:ext cx="2070997" cy="1242598"/>
        </a:xfrm>
        <a:prstGeom prst="rect">
          <a:avLst/>
        </a:prstGeom>
        <a:solidFill>
          <a:srgbClr val="14B94C">
            <a:hueOff val="0"/>
            <a:satOff val="0"/>
            <a:lumOff val="0"/>
            <a:alphaOff val="0"/>
          </a:srgbClr>
        </a:solidFill>
        <a:ln w="1587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5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5. Planeación </a:t>
          </a:r>
          <a:r>
            <a:rPr lang="es-ES" sz="1500" kern="1200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institucional</a:t>
          </a:r>
          <a:r>
            <a:rPr lang="es-ES" sz="15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 </a:t>
          </a:r>
          <a:endParaRPr lang="en-US" sz="1500" kern="1200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sp:txBody>
      <dsp:txXfrm>
        <a:off x="9419725" y="1759"/>
        <a:ext cx="2070997" cy="1242598"/>
      </dsp:txXfrm>
    </dsp:sp>
    <dsp:sp modelId="{BBAE89C8-7815-4F58-A06F-E091D4ED7A7D}">
      <dsp:nvSpPr>
        <dsp:cNvPr id="0" name=""/>
        <dsp:cNvSpPr/>
      </dsp:nvSpPr>
      <dsp:spPr>
        <a:xfrm>
          <a:off x="307337" y="1451457"/>
          <a:ext cx="2070997" cy="1242598"/>
        </a:xfrm>
        <a:prstGeom prst="rect">
          <a:avLst/>
        </a:prstGeom>
        <a:solidFill>
          <a:srgbClr val="D59617">
            <a:hueOff val="0"/>
            <a:satOff val="0"/>
            <a:lumOff val="0"/>
            <a:alphaOff val="0"/>
          </a:srgbClr>
        </a:solidFill>
        <a:ln w="1587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5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6. </a:t>
          </a:r>
          <a:r>
            <a:rPr lang="es-ES" sz="1500" kern="1200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Tecnologías de la información  </a:t>
          </a:r>
          <a:r>
            <a:rPr lang="es-ES" sz="15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 </a:t>
          </a:r>
          <a:endParaRPr lang="en-US" sz="1500" kern="1200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sp:txBody>
      <dsp:txXfrm>
        <a:off x="307337" y="1451457"/>
        <a:ext cx="2070997" cy="1242598"/>
      </dsp:txXfrm>
    </dsp:sp>
    <dsp:sp modelId="{46AE9BC5-CE0B-4468-AF6E-1169AA2B81DB}">
      <dsp:nvSpPr>
        <dsp:cNvPr id="0" name=""/>
        <dsp:cNvSpPr/>
      </dsp:nvSpPr>
      <dsp:spPr>
        <a:xfrm>
          <a:off x="2585434" y="1451457"/>
          <a:ext cx="2070997" cy="1242598"/>
        </a:xfrm>
        <a:prstGeom prst="rect">
          <a:avLst/>
        </a:prstGeom>
        <a:solidFill>
          <a:srgbClr val="9EAA1E">
            <a:hueOff val="0"/>
            <a:satOff val="0"/>
            <a:lumOff val="0"/>
            <a:alphaOff val="0"/>
          </a:srgbClr>
        </a:solidFill>
        <a:ln w="1587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5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7. Sistema </a:t>
          </a:r>
          <a:r>
            <a:rPr lang="es-ES" sz="1500" kern="1200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integrado de gestión   </a:t>
          </a:r>
          <a:r>
            <a:rPr lang="es-ES" sz="15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 </a:t>
          </a:r>
          <a:endParaRPr lang="en-US" sz="1500" kern="1200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sp:txBody>
      <dsp:txXfrm>
        <a:off x="2585434" y="1451457"/>
        <a:ext cx="2070997" cy="1242598"/>
      </dsp:txXfrm>
    </dsp:sp>
    <dsp:sp modelId="{D67B401F-EC1B-45C0-91C4-1F445A7BE8B9}">
      <dsp:nvSpPr>
        <dsp:cNvPr id="0" name=""/>
        <dsp:cNvSpPr/>
      </dsp:nvSpPr>
      <dsp:spPr>
        <a:xfrm>
          <a:off x="4863531" y="1451457"/>
          <a:ext cx="2070997" cy="1242598"/>
        </a:xfrm>
        <a:prstGeom prst="rect">
          <a:avLst/>
        </a:prstGeom>
        <a:solidFill>
          <a:srgbClr val="64B614">
            <a:hueOff val="0"/>
            <a:satOff val="0"/>
            <a:lumOff val="0"/>
            <a:alphaOff val="0"/>
          </a:srgbClr>
        </a:solidFill>
        <a:ln w="1587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5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8. Auditorias </a:t>
          </a:r>
          <a:r>
            <a:rPr lang="es-ES" sz="1500" kern="1200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de calidad    </a:t>
          </a:r>
          <a:r>
            <a:rPr lang="es-ES" sz="15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 </a:t>
          </a:r>
          <a:endParaRPr lang="en-US" sz="1500" kern="1200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sp:txBody>
      <dsp:txXfrm>
        <a:off x="4863531" y="1451457"/>
        <a:ext cx="2070997" cy="1242598"/>
      </dsp:txXfrm>
    </dsp:sp>
    <dsp:sp modelId="{148F5B64-E597-4C3A-8BA3-F409A403E30D}">
      <dsp:nvSpPr>
        <dsp:cNvPr id="0" name=""/>
        <dsp:cNvSpPr/>
      </dsp:nvSpPr>
      <dsp:spPr>
        <a:xfrm>
          <a:off x="7141628" y="1451457"/>
          <a:ext cx="2070997" cy="1242598"/>
        </a:xfrm>
        <a:prstGeom prst="rect">
          <a:avLst/>
        </a:prstGeom>
        <a:solidFill>
          <a:srgbClr val="2DBA21">
            <a:hueOff val="0"/>
            <a:satOff val="0"/>
            <a:lumOff val="0"/>
            <a:alphaOff val="0"/>
          </a:srgbClr>
        </a:solidFill>
        <a:ln w="1587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5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9. Plan </a:t>
          </a:r>
          <a:r>
            <a:rPr lang="es-ES" sz="1500" kern="1200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de emergencias en infraestructura             </a:t>
          </a:r>
          <a:r>
            <a:rPr lang="es-ES" sz="15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 </a:t>
          </a:r>
          <a:endParaRPr lang="en-US" sz="1500" kern="1200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sp:txBody>
      <dsp:txXfrm>
        <a:off x="7141628" y="1451457"/>
        <a:ext cx="2070997" cy="1242598"/>
      </dsp:txXfrm>
    </dsp:sp>
    <dsp:sp modelId="{58247C83-9D4D-457D-8DF6-D11BEA2C7416}">
      <dsp:nvSpPr>
        <dsp:cNvPr id="0" name=""/>
        <dsp:cNvSpPr/>
      </dsp:nvSpPr>
      <dsp:spPr>
        <a:xfrm>
          <a:off x="9419725" y="1451457"/>
          <a:ext cx="2070997" cy="1242598"/>
        </a:xfrm>
        <a:prstGeom prst="rect">
          <a:avLst/>
        </a:prstGeom>
        <a:solidFill>
          <a:srgbClr val="14B94C">
            <a:hueOff val="0"/>
            <a:satOff val="0"/>
            <a:lumOff val="0"/>
            <a:alphaOff val="0"/>
          </a:srgbClr>
        </a:solidFill>
        <a:ln w="1587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5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10. Gestión</a:t>
          </a:r>
          <a:r>
            <a:rPr lang="es-ES" sz="1500" kern="1200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 técnica de </a:t>
          </a:r>
          <a:r>
            <a:rPr lang="es-ES" sz="15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vías</a:t>
          </a:r>
          <a:endParaRPr lang="en-US" sz="1500" kern="1200">
            <a:solidFill>
              <a:srgbClr val="FFFFFF"/>
            </a:solidFill>
            <a:latin typeface="Tw Cen MT" panose="020F0302020204030204"/>
            <a:ea typeface="+mn-ea"/>
            <a:cs typeface="+mn-cs"/>
          </a:endParaRPr>
        </a:p>
      </dsp:txBody>
      <dsp:txXfrm>
        <a:off x="9419725" y="1451457"/>
        <a:ext cx="2070997" cy="1242598"/>
      </dsp:txXfrm>
    </dsp:sp>
    <dsp:sp modelId="{03DFEDCE-4DB5-40E6-A56E-62FAE0FFB933}">
      <dsp:nvSpPr>
        <dsp:cNvPr id="0" name=""/>
        <dsp:cNvSpPr/>
      </dsp:nvSpPr>
      <dsp:spPr>
        <a:xfrm>
          <a:off x="307337" y="2901155"/>
          <a:ext cx="2070997" cy="1242598"/>
        </a:xfrm>
        <a:prstGeom prst="rect">
          <a:avLst/>
        </a:prstGeom>
        <a:solidFill>
          <a:srgbClr val="D59617">
            <a:hueOff val="0"/>
            <a:satOff val="0"/>
            <a:lumOff val="0"/>
            <a:alphaOff val="0"/>
          </a:srgbClr>
        </a:solidFill>
        <a:ln w="1587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5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11. Supervisión </a:t>
          </a:r>
          <a:r>
            <a:rPr lang="es-ES" sz="1500" kern="1200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e interventoría       </a:t>
          </a:r>
          <a:r>
            <a:rPr lang="es-ES" sz="15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 </a:t>
          </a:r>
          <a:endParaRPr lang="es-ES" sz="1500" kern="1200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sp:txBody>
      <dsp:txXfrm>
        <a:off x="307337" y="2901155"/>
        <a:ext cx="2070997" cy="1242598"/>
      </dsp:txXfrm>
    </dsp:sp>
    <dsp:sp modelId="{AAA6DA49-0060-49EC-9B28-6CA1178AB003}">
      <dsp:nvSpPr>
        <dsp:cNvPr id="0" name=""/>
        <dsp:cNvSpPr/>
      </dsp:nvSpPr>
      <dsp:spPr>
        <a:xfrm>
          <a:off x="2585434" y="2901155"/>
          <a:ext cx="2070997" cy="1242598"/>
        </a:xfrm>
        <a:prstGeom prst="rect">
          <a:avLst/>
        </a:prstGeom>
        <a:solidFill>
          <a:srgbClr val="9EAA1E">
            <a:hueOff val="0"/>
            <a:satOff val="0"/>
            <a:lumOff val="0"/>
            <a:alphaOff val="0"/>
          </a:srgbClr>
        </a:solidFill>
        <a:ln w="1587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5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12. Gestión </a:t>
          </a:r>
          <a:r>
            <a:rPr lang="es-ES" sz="1500" kern="1200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territorial          </a:t>
          </a:r>
          <a:r>
            <a:rPr lang="es-ES" sz="15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 </a:t>
          </a:r>
          <a:endParaRPr lang="en-US" sz="1500" kern="1200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sp:txBody>
      <dsp:txXfrm>
        <a:off x="2585434" y="2901155"/>
        <a:ext cx="2070997" cy="1242598"/>
      </dsp:txXfrm>
    </dsp:sp>
    <dsp:sp modelId="{242F4DF3-BDE1-4E4D-9D83-B94CBFAB6D1F}">
      <dsp:nvSpPr>
        <dsp:cNvPr id="0" name=""/>
        <dsp:cNvSpPr/>
      </dsp:nvSpPr>
      <dsp:spPr>
        <a:xfrm>
          <a:off x="4863531" y="2901155"/>
          <a:ext cx="2070997" cy="1242598"/>
        </a:xfrm>
        <a:prstGeom prst="rect">
          <a:avLst/>
        </a:prstGeom>
        <a:solidFill>
          <a:srgbClr val="64B614">
            <a:hueOff val="0"/>
            <a:satOff val="0"/>
            <a:lumOff val="0"/>
            <a:alphaOff val="0"/>
          </a:srgbClr>
        </a:solidFill>
        <a:ln w="1587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5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13. Seguridad </a:t>
          </a:r>
          <a:r>
            <a:rPr lang="es-ES" sz="1500" kern="1200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Vial  </a:t>
          </a:r>
          <a:r>
            <a:rPr lang="es-ES" sz="15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 </a:t>
          </a:r>
          <a:endParaRPr lang="en-US" sz="1500" kern="1200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sp:txBody>
      <dsp:txXfrm>
        <a:off x="4863531" y="2901155"/>
        <a:ext cx="2070997" cy="1242598"/>
      </dsp:txXfrm>
    </dsp:sp>
    <dsp:sp modelId="{4DCCA2B3-2F39-4A22-B9CE-05D036466502}">
      <dsp:nvSpPr>
        <dsp:cNvPr id="0" name=""/>
        <dsp:cNvSpPr/>
      </dsp:nvSpPr>
      <dsp:spPr>
        <a:xfrm>
          <a:off x="7141628" y="2901155"/>
          <a:ext cx="2070997" cy="1242598"/>
        </a:xfrm>
        <a:prstGeom prst="rect">
          <a:avLst/>
        </a:prstGeom>
        <a:solidFill>
          <a:srgbClr val="2DBA21">
            <a:hueOff val="0"/>
            <a:satOff val="0"/>
            <a:lumOff val="0"/>
            <a:alphaOff val="0"/>
          </a:srgbClr>
        </a:solidFill>
        <a:ln w="1587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5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14. Gerencia </a:t>
          </a:r>
          <a:r>
            <a:rPr lang="es-ES" sz="1500" kern="1200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de Proyectos</a:t>
          </a:r>
          <a:r>
            <a:rPr lang="es-ES" sz="15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 </a:t>
          </a:r>
          <a:endParaRPr lang="en-US" sz="1500" kern="1200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sp:txBody>
      <dsp:txXfrm>
        <a:off x="7141628" y="2901155"/>
        <a:ext cx="2070997" cy="1242598"/>
      </dsp:txXfrm>
    </dsp:sp>
    <dsp:sp modelId="{86B68F1C-4D66-4AF0-B163-5D50BB3C1718}">
      <dsp:nvSpPr>
        <dsp:cNvPr id="0" name=""/>
        <dsp:cNvSpPr/>
      </dsp:nvSpPr>
      <dsp:spPr>
        <a:xfrm>
          <a:off x="9419725" y="2901155"/>
          <a:ext cx="2070997" cy="1242598"/>
        </a:xfrm>
        <a:prstGeom prst="rect">
          <a:avLst/>
        </a:prstGeom>
        <a:solidFill>
          <a:srgbClr val="14B94C">
            <a:hueOff val="0"/>
            <a:satOff val="0"/>
            <a:lumOff val="0"/>
            <a:alphaOff val="0"/>
          </a:srgbClr>
        </a:solidFill>
        <a:ln w="1587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5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15. Indicadores</a:t>
          </a:r>
          <a:r>
            <a:rPr lang="es-ES" sz="1500" kern="1200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 de Gestión                </a:t>
          </a:r>
          <a:endParaRPr lang="en-US" sz="1500" kern="1200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sp:txBody>
      <dsp:txXfrm>
        <a:off x="9419725" y="2901155"/>
        <a:ext cx="2070997" cy="124259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B60FAA7-5525-4111-A704-8F769EE83CE6}">
      <dsp:nvSpPr>
        <dsp:cNvPr id="0" name=""/>
        <dsp:cNvSpPr/>
      </dsp:nvSpPr>
      <dsp:spPr>
        <a:xfrm>
          <a:off x="33856" y="1910"/>
          <a:ext cx="2092412" cy="1255447"/>
        </a:xfrm>
        <a:prstGeom prst="rect">
          <a:avLst/>
        </a:prstGeom>
        <a:gradFill rotWithShape="0">
          <a:gsLst>
            <a:gs pos="0">
              <a:srgbClr val="D59617">
                <a:hueOff val="0"/>
                <a:satOff val="0"/>
                <a:lumOff val="0"/>
                <a:alphaOff val="0"/>
                <a:shade val="85000"/>
                <a:satMod val="130000"/>
              </a:srgbClr>
            </a:gs>
            <a:gs pos="34000">
              <a:srgbClr val="D59617">
                <a:hueOff val="0"/>
                <a:satOff val="0"/>
                <a:lumOff val="0"/>
                <a:alphaOff val="0"/>
                <a:shade val="87000"/>
                <a:satMod val="125000"/>
              </a:srgbClr>
            </a:gs>
            <a:gs pos="70000">
              <a:srgbClr val="D59617"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rgbClr>
            </a:gs>
            <a:gs pos="100000">
              <a:srgbClr val="D59617"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rgb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38100" dist="25400" dir="2700000" algn="br" rotWithShape="0">
            <a:srgbClr val="000000">
              <a:alpha val="60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1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16. Gestión</a:t>
          </a:r>
          <a:r>
            <a:rPr lang="es-ES" sz="1100" kern="1200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 presupuestal / Control y manejo de recursos públicos               </a:t>
          </a:r>
          <a:r>
            <a:rPr lang="es-ES" sz="11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 </a:t>
          </a:r>
          <a:endParaRPr lang="es-ES" sz="1100" kern="1200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sp:txBody>
      <dsp:txXfrm>
        <a:off x="33856" y="1910"/>
        <a:ext cx="2092412" cy="1255447"/>
      </dsp:txXfrm>
    </dsp:sp>
    <dsp:sp modelId="{48C62C0E-A892-4871-9F2D-8DF80D750B48}">
      <dsp:nvSpPr>
        <dsp:cNvPr id="0" name=""/>
        <dsp:cNvSpPr/>
      </dsp:nvSpPr>
      <dsp:spPr>
        <a:xfrm>
          <a:off x="2335509" y="1910"/>
          <a:ext cx="2092412" cy="1255447"/>
        </a:xfrm>
        <a:prstGeom prst="rect">
          <a:avLst/>
        </a:prstGeom>
        <a:gradFill rotWithShape="0">
          <a:gsLst>
            <a:gs pos="0">
              <a:srgbClr val="9EAA1E">
                <a:hueOff val="0"/>
                <a:satOff val="0"/>
                <a:lumOff val="0"/>
                <a:alphaOff val="0"/>
                <a:shade val="85000"/>
                <a:satMod val="130000"/>
              </a:srgbClr>
            </a:gs>
            <a:gs pos="34000">
              <a:srgbClr val="9EAA1E">
                <a:hueOff val="0"/>
                <a:satOff val="0"/>
                <a:lumOff val="0"/>
                <a:alphaOff val="0"/>
                <a:shade val="87000"/>
                <a:satMod val="125000"/>
              </a:srgbClr>
            </a:gs>
            <a:gs pos="70000">
              <a:srgbClr val="9EAA1E"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rgbClr>
            </a:gs>
            <a:gs pos="100000">
              <a:srgbClr val="9EAA1E"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rgb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38100" dist="25400" dir="2700000" algn="br" rotWithShape="0">
            <a:srgbClr val="000000">
              <a:alpha val="60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1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17. Gestión</a:t>
          </a:r>
          <a:r>
            <a:rPr lang="es-ES" sz="1100" kern="1200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 Jurídica              </a:t>
          </a:r>
          <a:r>
            <a:rPr lang="es-ES" sz="11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 </a:t>
          </a:r>
          <a:endParaRPr lang="es-ES" sz="1100" kern="1200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sp:txBody>
      <dsp:txXfrm>
        <a:off x="2335509" y="1910"/>
        <a:ext cx="2092412" cy="1255447"/>
      </dsp:txXfrm>
    </dsp:sp>
    <dsp:sp modelId="{5FBE1911-5DC5-4A98-96B4-4FB872B55D25}">
      <dsp:nvSpPr>
        <dsp:cNvPr id="0" name=""/>
        <dsp:cNvSpPr/>
      </dsp:nvSpPr>
      <dsp:spPr>
        <a:xfrm>
          <a:off x="4637163" y="1910"/>
          <a:ext cx="2092412" cy="1255447"/>
        </a:xfrm>
        <a:prstGeom prst="rect">
          <a:avLst/>
        </a:prstGeom>
        <a:gradFill rotWithShape="0">
          <a:gsLst>
            <a:gs pos="0">
              <a:srgbClr val="64B614">
                <a:hueOff val="0"/>
                <a:satOff val="0"/>
                <a:lumOff val="0"/>
                <a:alphaOff val="0"/>
                <a:shade val="85000"/>
                <a:satMod val="130000"/>
              </a:srgbClr>
            </a:gs>
            <a:gs pos="34000">
              <a:srgbClr val="64B614">
                <a:hueOff val="0"/>
                <a:satOff val="0"/>
                <a:lumOff val="0"/>
                <a:alphaOff val="0"/>
                <a:shade val="87000"/>
                <a:satMod val="125000"/>
              </a:srgbClr>
            </a:gs>
            <a:gs pos="70000">
              <a:srgbClr val="64B614"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rgbClr>
            </a:gs>
            <a:gs pos="100000">
              <a:srgbClr val="64B614"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rgb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38100" dist="25400" dir="2700000" algn="br" rotWithShape="0">
            <a:srgbClr val="000000">
              <a:alpha val="60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1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18. Gestión </a:t>
          </a:r>
          <a:r>
            <a:rPr lang="es-ES" sz="1100" kern="1200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de Talento Humano    </a:t>
          </a:r>
          <a:r>
            <a:rPr lang="es-ES" sz="11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 </a:t>
          </a:r>
          <a:endParaRPr lang="es-ES" sz="1100" kern="1200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sp:txBody>
      <dsp:txXfrm>
        <a:off x="4637163" y="1910"/>
        <a:ext cx="2092412" cy="1255447"/>
      </dsp:txXfrm>
    </dsp:sp>
    <dsp:sp modelId="{7ED81068-EA0C-4B94-8913-010F8E0082A2}">
      <dsp:nvSpPr>
        <dsp:cNvPr id="0" name=""/>
        <dsp:cNvSpPr/>
      </dsp:nvSpPr>
      <dsp:spPr>
        <a:xfrm>
          <a:off x="6938816" y="1910"/>
          <a:ext cx="2092412" cy="1255447"/>
        </a:xfrm>
        <a:prstGeom prst="rect">
          <a:avLst/>
        </a:prstGeom>
        <a:gradFill rotWithShape="0">
          <a:gsLst>
            <a:gs pos="0">
              <a:srgbClr val="2DBA21">
                <a:hueOff val="0"/>
                <a:satOff val="0"/>
                <a:lumOff val="0"/>
                <a:alphaOff val="0"/>
                <a:shade val="85000"/>
                <a:satMod val="130000"/>
              </a:srgbClr>
            </a:gs>
            <a:gs pos="34000">
              <a:srgbClr val="2DBA21">
                <a:hueOff val="0"/>
                <a:satOff val="0"/>
                <a:lumOff val="0"/>
                <a:alphaOff val="0"/>
                <a:shade val="87000"/>
                <a:satMod val="125000"/>
              </a:srgbClr>
            </a:gs>
            <a:gs pos="70000">
              <a:srgbClr val="2DBA21"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rgbClr>
            </a:gs>
            <a:gs pos="100000">
              <a:srgbClr val="2DBA21"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rgb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38100" dist="25400" dir="2700000" algn="br" rotWithShape="0">
            <a:srgbClr val="000000">
              <a:alpha val="60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1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19. Seguridad </a:t>
          </a:r>
          <a:r>
            <a:rPr lang="es-ES" sz="1100" kern="1200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y salud en el trabajo</a:t>
          </a:r>
          <a:r>
            <a:rPr lang="es-ES" sz="11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 </a:t>
          </a:r>
          <a:endParaRPr lang="es-ES" sz="1100" kern="1200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sp:txBody>
      <dsp:txXfrm>
        <a:off x="6938816" y="1910"/>
        <a:ext cx="2092412" cy="1255447"/>
      </dsp:txXfrm>
    </dsp:sp>
    <dsp:sp modelId="{64C9221D-9F39-4E26-A59C-C54A19E870D3}">
      <dsp:nvSpPr>
        <dsp:cNvPr id="0" name=""/>
        <dsp:cNvSpPr/>
      </dsp:nvSpPr>
      <dsp:spPr>
        <a:xfrm>
          <a:off x="9240470" y="1910"/>
          <a:ext cx="2092412" cy="1255447"/>
        </a:xfrm>
        <a:prstGeom prst="rect">
          <a:avLst/>
        </a:prstGeom>
        <a:gradFill rotWithShape="0">
          <a:gsLst>
            <a:gs pos="0">
              <a:srgbClr val="14B94C">
                <a:hueOff val="0"/>
                <a:satOff val="0"/>
                <a:lumOff val="0"/>
                <a:alphaOff val="0"/>
                <a:shade val="85000"/>
                <a:satMod val="130000"/>
              </a:srgbClr>
            </a:gs>
            <a:gs pos="34000">
              <a:srgbClr val="14B94C">
                <a:hueOff val="0"/>
                <a:satOff val="0"/>
                <a:lumOff val="0"/>
                <a:alphaOff val="0"/>
                <a:shade val="87000"/>
                <a:satMod val="125000"/>
              </a:srgbClr>
            </a:gs>
            <a:gs pos="70000">
              <a:srgbClr val="14B94C"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rgbClr>
            </a:gs>
            <a:gs pos="100000">
              <a:srgbClr val="14B94C"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rgb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38100" dist="25400" dir="2700000" algn="br" rotWithShape="0">
            <a:srgbClr val="000000">
              <a:alpha val="60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1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20. </a:t>
          </a:r>
          <a:r>
            <a:rPr lang="es-ES" sz="1100" kern="1200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Control interno               </a:t>
          </a:r>
          <a:endParaRPr lang="es-ES" sz="1100" kern="1200">
            <a:solidFill>
              <a:srgbClr val="FFFFFF"/>
            </a:solidFill>
            <a:latin typeface="Tw Cen MT" panose="020F0302020204030204"/>
            <a:ea typeface="+mn-ea"/>
            <a:cs typeface="+mn-cs"/>
          </a:endParaRPr>
        </a:p>
      </dsp:txBody>
      <dsp:txXfrm>
        <a:off x="9240470" y="1910"/>
        <a:ext cx="2092412" cy="1255447"/>
      </dsp:txXfrm>
    </dsp:sp>
    <dsp:sp modelId="{0EAE26D4-679E-434A-A99E-DB404C6D5BAE}">
      <dsp:nvSpPr>
        <dsp:cNvPr id="0" name=""/>
        <dsp:cNvSpPr/>
      </dsp:nvSpPr>
      <dsp:spPr>
        <a:xfrm>
          <a:off x="33856" y="1466599"/>
          <a:ext cx="2092412" cy="1255447"/>
        </a:xfrm>
        <a:prstGeom prst="rect">
          <a:avLst/>
        </a:prstGeom>
        <a:gradFill rotWithShape="0">
          <a:gsLst>
            <a:gs pos="0">
              <a:srgbClr val="D59617">
                <a:hueOff val="0"/>
                <a:satOff val="0"/>
                <a:lumOff val="0"/>
                <a:alphaOff val="0"/>
                <a:shade val="85000"/>
                <a:satMod val="130000"/>
              </a:srgbClr>
            </a:gs>
            <a:gs pos="34000">
              <a:srgbClr val="D59617">
                <a:hueOff val="0"/>
                <a:satOff val="0"/>
                <a:lumOff val="0"/>
                <a:alphaOff val="0"/>
                <a:shade val="87000"/>
                <a:satMod val="125000"/>
              </a:srgbClr>
            </a:gs>
            <a:gs pos="70000">
              <a:srgbClr val="D59617"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rgbClr>
            </a:gs>
            <a:gs pos="100000">
              <a:srgbClr val="D59617"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rgb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38100" dist="25400" dir="2700000" algn="br" rotWithShape="0">
            <a:srgbClr val="000000">
              <a:alpha val="60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1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21. Control</a:t>
          </a:r>
          <a:r>
            <a:rPr lang="es-ES" sz="1100" kern="1200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 interno disciplinario      </a:t>
          </a:r>
          <a:r>
            <a:rPr lang="es-ES" sz="11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 </a:t>
          </a:r>
          <a:endParaRPr lang="es-ES" sz="1100" kern="1200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sp:txBody>
      <dsp:txXfrm>
        <a:off x="33856" y="1466599"/>
        <a:ext cx="2092412" cy="1255447"/>
      </dsp:txXfrm>
    </dsp:sp>
    <dsp:sp modelId="{021F4480-1133-45D1-B48D-49461618BC96}">
      <dsp:nvSpPr>
        <dsp:cNvPr id="0" name=""/>
        <dsp:cNvSpPr/>
      </dsp:nvSpPr>
      <dsp:spPr>
        <a:xfrm>
          <a:off x="2335509" y="1466599"/>
          <a:ext cx="2092412" cy="1255447"/>
        </a:xfrm>
        <a:prstGeom prst="rect">
          <a:avLst/>
        </a:prstGeom>
        <a:gradFill rotWithShape="0">
          <a:gsLst>
            <a:gs pos="0">
              <a:srgbClr val="9EAA1E">
                <a:hueOff val="0"/>
                <a:satOff val="0"/>
                <a:lumOff val="0"/>
                <a:alphaOff val="0"/>
                <a:shade val="85000"/>
                <a:satMod val="130000"/>
              </a:srgbClr>
            </a:gs>
            <a:gs pos="34000">
              <a:srgbClr val="9EAA1E">
                <a:hueOff val="0"/>
                <a:satOff val="0"/>
                <a:lumOff val="0"/>
                <a:alphaOff val="0"/>
                <a:shade val="87000"/>
                <a:satMod val="125000"/>
              </a:srgbClr>
            </a:gs>
            <a:gs pos="70000">
              <a:srgbClr val="9EAA1E"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rgbClr>
            </a:gs>
            <a:gs pos="100000">
              <a:srgbClr val="9EAA1E"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rgb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38100" dist="25400" dir="2700000" algn="br" rotWithShape="0">
            <a:srgbClr val="000000">
              <a:alpha val="60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1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22. Gestión </a:t>
          </a:r>
          <a:r>
            <a:rPr lang="es-ES" sz="1100" kern="1200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Documental    </a:t>
          </a:r>
          <a:r>
            <a:rPr lang="es-ES" sz="11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 </a:t>
          </a:r>
          <a:endParaRPr lang="es-ES" sz="1100" kern="1200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sp:txBody>
      <dsp:txXfrm>
        <a:off x="2335509" y="1466599"/>
        <a:ext cx="2092412" cy="1255447"/>
      </dsp:txXfrm>
    </dsp:sp>
    <dsp:sp modelId="{4235DDAD-AEE3-4325-A357-89EE546FFE42}">
      <dsp:nvSpPr>
        <dsp:cNvPr id="0" name=""/>
        <dsp:cNvSpPr/>
      </dsp:nvSpPr>
      <dsp:spPr>
        <a:xfrm>
          <a:off x="4637163" y="1466599"/>
          <a:ext cx="2092412" cy="1255447"/>
        </a:xfrm>
        <a:prstGeom prst="rect">
          <a:avLst/>
        </a:prstGeom>
        <a:gradFill rotWithShape="0">
          <a:gsLst>
            <a:gs pos="0">
              <a:srgbClr val="64B614">
                <a:hueOff val="0"/>
                <a:satOff val="0"/>
                <a:lumOff val="0"/>
                <a:alphaOff val="0"/>
                <a:shade val="85000"/>
                <a:satMod val="130000"/>
              </a:srgbClr>
            </a:gs>
            <a:gs pos="34000">
              <a:srgbClr val="64B614">
                <a:hueOff val="0"/>
                <a:satOff val="0"/>
                <a:lumOff val="0"/>
                <a:alphaOff val="0"/>
                <a:shade val="87000"/>
                <a:satMod val="125000"/>
              </a:srgbClr>
            </a:gs>
            <a:gs pos="70000">
              <a:srgbClr val="64B614"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rgbClr>
            </a:gs>
            <a:gs pos="100000">
              <a:srgbClr val="64B614"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rgb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38100" dist="25400" dir="2700000" algn="br" rotWithShape="0">
            <a:srgbClr val="000000">
              <a:alpha val="60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1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23. Servicio </a:t>
          </a:r>
          <a:r>
            <a:rPr lang="es-ES" sz="1100" kern="1200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al ciudadano    </a:t>
          </a:r>
          <a:r>
            <a:rPr lang="es-ES" sz="11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 </a:t>
          </a:r>
          <a:endParaRPr lang="es-ES" sz="1100" kern="1200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sp:txBody>
      <dsp:txXfrm>
        <a:off x="4637163" y="1466599"/>
        <a:ext cx="2092412" cy="1255447"/>
      </dsp:txXfrm>
    </dsp:sp>
    <dsp:sp modelId="{AFE13D09-D859-4B99-8BB2-F2C498C6B49E}">
      <dsp:nvSpPr>
        <dsp:cNvPr id="0" name=""/>
        <dsp:cNvSpPr/>
      </dsp:nvSpPr>
      <dsp:spPr>
        <a:xfrm>
          <a:off x="6938816" y="1466599"/>
          <a:ext cx="2092412" cy="1255447"/>
        </a:xfrm>
        <a:prstGeom prst="rect">
          <a:avLst/>
        </a:prstGeom>
        <a:gradFill rotWithShape="0">
          <a:gsLst>
            <a:gs pos="0">
              <a:srgbClr val="2DBA21">
                <a:hueOff val="0"/>
                <a:satOff val="0"/>
                <a:lumOff val="0"/>
                <a:alphaOff val="0"/>
                <a:shade val="85000"/>
                <a:satMod val="130000"/>
              </a:srgbClr>
            </a:gs>
            <a:gs pos="34000">
              <a:srgbClr val="2DBA21">
                <a:hueOff val="0"/>
                <a:satOff val="0"/>
                <a:lumOff val="0"/>
                <a:alphaOff val="0"/>
                <a:shade val="87000"/>
                <a:satMod val="125000"/>
              </a:srgbClr>
            </a:gs>
            <a:gs pos="70000">
              <a:srgbClr val="2DBA21"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rgbClr>
            </a:gs>
            <a:gs pos="100000">
              <a:srgbClr val="2DBA21"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rgb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38100" dist="25400" dir="2700000" algn="br" rotWithShape="0">
            <a:srgbClr val="000000">
              <a:alpha val="60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1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24. Herramientas </a:t>
          </a:r>
          <a:r>
            <a:rPr lang="es-ES" sz="1100" kern="1200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ofimáticas            </a:t>
          </a:r>
          <a:r>
            <a:rPr lang="es-ES" sz="11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 </a:t>
          </a:r>
          <a:endParaRPr lang="es-ES" sz="1100" kern="1200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sp:txBody>
      <dsp:txXfrm>
        <a:off x="6938816" y="1466599"/>
        <a:ext cx="2092412" cy="1255447"/>
      </dsp:txXfrm>
    </dsp:sp>
    <dsp:sp modelId="{53B4F1E9-A2C3-4CAB-B32A-8F6EB0E6E568}">
      <dsp:nvSpPr>
        <dsp:cNvPr id="0" name=""/>
        <dsp:cNvSpPr/>
      </dsp:nvSpPr>
      <dsp:spPr>
        <a:xfrm>
          <a:off x="9240470" y="1466599"/>
          <a:ext cx="2092412" cy="1255447"/>
        </a:xfrm>
        <a:prstGeom prst="rect">
          <a:avLst/>
        </a:prstGeom>
        <a:gradFill rotWithShape="0">
          <a:gsLst>
            <a:gs pos="0">
              <a:srgbClr val="14B94C">
                <a:hueOff val="0"/>
                <a:satOff val="0"/>
                <a:lumOff val="0"/>
                <a:alphaOff val="0"/>
                <a:shade val="85000"/>
                <a:satMod val="130000"/>
              </a:srgbClr>
            </a:gs>
            <a:gs pos="34000">
              <a:srgbClr val="14B94C">
                <a:hueOff val="0"/>
                <a:satOff val="0"/>
                <a:lumOff val="0"/>
                <a:alphaOff val="0"/>
                <a:shade val="87000"/>
                <a:satMod val="125000"/>
              </a:srgbClr>
            </a:gs>
            <a:gs pos="70000">
              <a:srgbClr val="14B94C"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rgbClr>
            </a:gs>
            <a:gs pos="100000">
              <a:srgbClr val="14B94C"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rgb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38100" dist="25400" dir="2700000" algn="br" rotWithShape="0">
            <a:srgbClr val="000000">
              <a:alpha val="60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1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25. Inglés   </a:t>
          </a:r>
          <a:endParaRPr lang="es-ES" sz="1100" kern="1200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sp:txBody>
      <dsp:txXfrm>
        <a:off x="9240470" y="1466599"/>
        <a:ext cx="2092412" cy="1255447"/>
      </dsp:txXfrm>
    </dsp:sp>
    <dsp:sp modelId="{F86516D2-4723-4EDE-8380-A3005625E641}">
      <dsp:nvSpPr>
        <dsp:cNvPr id="0" name=""/>
        <dsp:cNvSpPr/>
      </dsp:nvSpPr>
      <dsp:spPr>
        <a:xfrm>
          <a:off x="2335509" y="2931287"/>
          <a:ext cx="2092412" cy="1255447"/>
        </a:xfrm>
        <a:prstGeom prst="rect">
          <a:avLst/>
        </a:prstGeom>
        <a:gradFill rotWithShape="0">
          <a:gsLst>
            <a:gs pos="0">
              <a:srgbClr val="D59617">
                <a:hueOff val="0"/>
                <a:satOff val="0"/>
                <a:lumOff val="0"/>
                <a:alphaOff val="0"/>
                <a:shade val="85000"/>
                <a:satMod val="130000"/>
              </a:srgbClr>
            </a:gs>
            <a:gs pos="34000">
              <a:srgbClr val="D59617">
                <a:hueOff val="0"/>
                <a:satOff val="0"/>
                <a:lumOff val="0"/>
                <a:alphaOff val="0"/>
                <a:shade val="87000"/>
                <a:satMod val="125000"/>
              </a:srgbClr>
            </a:gs>
            <a:gs pos="70000">
              <a:srgbClr val="D59617"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rgbClr>
            </a:gs>
            <a:gs pos="100000">
              <a:srgbClr val="D59617"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rgb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38100" dist="25400" dir="2700000" algn="br" rotWithShape="0">
            <a:srgbClr val="000000">
              <a:alpha val="60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1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26. </a:t>
          </a:r>
          <a:r>
            <a:rPr lang="es-ES" sz="1100" kern="1200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Negociación colectiva  </a:t>
          </a:r>
          <a:r>
            <a:rPr lang="es-ES" sz="11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 </a:t>
          </a:r>
        </a:p>
      </dsp:txBody>
      <dsp:txXfrm>
        <a:off x="2335509" y="2931287"/>
        <a:ext cx="2092412" cy="1255447"/>
      </dsp:txXfrm>
    </dsp:sp>
    <dsp:sp modelId="{CC5A4E90-6314-4A78-B62E-E22729A1117E}">
      <dsp:nvSpPr>
        <dsp:cNvPr id="0" name=""/>
        <dsp:cNvSpPr/>
      </dsp:nvSpPr>
      <dsp:spPr>
        <a:xfrm>
          <a:off x="4637163" y="2931287"/>
          <a:ext cx="2092412" cy="1255447"/>
        </a:xfrm>
        <a:prstGeom prst="rect">
          <a:avLst/>
        </a:prstGeom>
        <a:gradFill rotWithShape="0">
          <a:gsLst>
            <a:gs pos="0">
              <a:srgbClr val="9EAA1E">
                <a:hueOff val="0"/>
                <a:satOff val="0"/>
                <a:lumOff val="0"/>
                <a:alphaOff val="0"/>
                <a:shade val="85000"/>
                <a:satMod val="130000"/>
              </a:srgbClr>
            </a:gs>
            <a:gs pos="34000">
              <a:srgbClr val="9EAA1E">
                <a:hueOff val="0"/>
                <a:satOff val="0"/>
                <a:lumOff val="0"/>
                <a:alphaOff val="0"/>
                <a:shade val="87000"/>
                <a:satMod val="125000"/>
              </a:srgbClr>
            </a:gs>
            <a:gs pos="70000">
              <a:srgbClr val="9EAA1E"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rgbClr>
            </a:gs>
            <a:gs pos="100000">
              <a:srgbClr val="9EAA1E"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rgb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38100" dist="25400" dir="2700000" algn="br" rotWithShape="0">
            <a:srgbClr val="000000">
              <a:alpha val="60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1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27. Habilidades</a:t>
          </a:r>
          <a:r>
            <a:rPr lang="es-ES" sz="1100" kern="1200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 blandas, entendidas como: “el resultado de una combinación de habilidades sociales, de comunicación, de forma de ser, de acercamiento a los demás, entre otras, que hacen a una persona</a:t>
          </a:r>
          <a:r>
            <a:rPr lang="es-ES" sz="11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 </a:t>
          </a:r>
          <a:endParaRPr lang="es-ES" sz="1100" kern="1200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sp:txBody>
      <dsp:txXfrm>
        <a:off x="4637163" y="2931287"/>
        <a:ext cx="2092412" cy="1255447"/>
      </dsp:txXfrm>
    </dsp:sp>
    <dsp:sp modelId="{842C77E7-E3C4-4A15-8E40-3AF9B7B26A79}">
      <dsp:nvSpPr>
        <dsp:cNvPr id="0" name=""/>
        <dsp:cNvSpPr/>
      </dsp:nvSpPr>
      <dsp:spPr>
        <a:xfrm>
          <a:off x="6938816" y="2931287"/>
          <a:ext cx="2092412" cy="1255447"/>
        </a:xfrm>
        <a:prstGeom prst="rect">
          <a:avLst/>
        </a:prstGeom>
        <a:gradFill rotWithShape="0">
          <a:gsLst>
            <a:gs pos="0">
              <a:srgbClr val="64B614">
                <a:hueOff val="0"/>
                <a:satOff val="0"/>
                <a:lumOff val="0"/>
                <a:alphaOff val="0"/>
                <a:shade val="85000"/>
                <a:satMod val="130000"/>
              </a:srgbClr>
            </a:gs>
            <a:gs pos="34000">
              <a:srgbClr val="64B614">
                <a:hueOff val="0"/>
                <a:satOff val="0"/>
                <a:lumOff val="0"/>
                <a:alphaOff val="0"/>
                <a:shade val="87000"/>
                <a:satMod val="125000"/>
              </a:srgbClr>
            </a:gs>
            <a:gs pos="70000">
              <a:srgbClr val="64B614"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rgbClr>
            </a:gs>
            <a:gs pos="100000">
              <a:srgbClr val="64B614"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rgb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38100" dist="25400" dir="2700000" algn="br" rotWithShape="0">
            <a:srgbClr val="000000">
              <a:alpha val="60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1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28.Otros</a:t>
          </a:r>
          <a:r>
            <a:rPr lang="es-ES" sz="1100" kern="1200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 tema de capacitación</a:t>
          </a:r>
        </a:p>
      </dsp:txBody>
      <dsp:txXfrm>
        <a:off x="6938816" y="2931287"/>
        <a:ext cx="2092412" cy="125544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69DF197-EE0D-436E-8987-7B318102D3FA}">
      <dsp:nvSpPr>
        <dsp:cNvPr id="0" name=""/>
        <dsp:cNvSpPr/>
      </dsp:nvSpPr>
      <dsp:spPr>
        <a:xfrm>
          <a:off x="0" y="0"/>
          <a:ext cx="5588727" cy="1557745"/>
        </a:xfrm>
        <a:prstGeom prst="roundRect">
          <a:avLst>
            <a:gd name="adj" fmla="val 10000"/>
          </a:avLst>
        </a:prstGeom>
        <a:gradFill rotWithShape="0">
          <a:gsLst>
            <a:gs pos="0">
              <a:srgbClr val="14B94C">
                <a:shade val="80000"/>
                <a:hueOff val="0"/>
                <a:satOff val="0"/>
                <a:lumOff val="0"/>
                <a:alphaOff val="0"/>
                <a:shade val="85000"/>
                <a:satMod val="130000"/>
              </a:srgbClr>
            </a:gs>
            <a:gs pos="34000">
              <a:srgbClr val="14B94C">
                <a:shade val="80000"/>
                <a:hueOff val="0"/>
                <a:satOff val="0"/>
                <a:lumOff val="0"/>
                <a:alphaOff val="0"/>
                <a:shade val="87000"/>
                <a:satMod val="125000"/>
              </a:srgbClr>
            </a:gs>
            <a:gs pos="70000">
              <a:srgbClr val="14B94C">
                <a:shade val="80000"/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rgbClr>
            </a:gs>
            <a:gs pos="100000">
              <a:srgbClr val="14B94C">
                <a:shade val="80000"/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rgb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38100" dist="25400" dir="2700000" algn="br" rotWithShape="0">
            <a:srgbClr val="000000">
              <a:alpha val="60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l" defTabSz="1333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Encuesta</a:t>
          </a:r>
          <a:r>
            <a:rPr lang="en-US" sz="3000" kern="1200">
              <a:solidFill>
                <a:srgbClr val="FFFFFF"/>
              </a:solidFill>
              <a:latin typeface="Tw Cen MT" panose="020F0502020204030204"/>
              <a:ea typeface="+mn-ea"/>
              <a:cs typeface="+mn-cs"/>
            </a:rPr>
            <a:t> de necesidades de aprendizaje </a:t>
          </a:r>
          <a:r>
            <a:rPr lang="en-US" sz="3000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por dependencias</a:t>
          </a:r>
          <a:endParaRPr lang="es-ES" sz="3000" kern="1200">
            <a:solidFill>
              <a:srgbClr val="FFFFFF"/>
            </a:solidFill>
            <a:latin typeface="Tw Cen MT" panose="020F0502020204030204"/>
            <a:ea typeface="+mn-ea"/>
            <a:cs typeface="+mn-cs"/>
          </a:endParaRPr>
        </a:p>
      </dsp:txBody>
      <dsp:txXfrm>
        <a:off x="45625" y="45625"/>
        <a:ext cx="3978675" cy="1466495"/>
      </dsp:txXfrm>
    </dsp:sp>
    <dsp:sp modelId="{FD842C8F-9B60-4858-A306-8D7B8BAA8B26}">
      <dsp:nvSpPr>
        <dsp:cNvPr id="0" name=""/>
        <dsp:cNvSpPr/>
      </dsp:nvSpPr>
      <dsp:spPr>
        <a:xfrm>
          <a:off x="986245" y="1903911"/>
          <a:ext cx="5588727" cy="1557745"/>
        </a:xfrm>
        <a:prstGeom prst="roundRect">
          <a:avLst>
            <a:gd name="adj" fmla="val 10000"/>
          </a:avLst>
        </a:prstGeom>
        <a:gradFill rotWithShape="0">
          <a:gsLst>
            <a:gs pos="0">
              <a:srgbClr val="14B94C">
                <a:shade val="80000"/>
                <a:hueOff val="-625390"/>
                <a:satOff val="-42216"/>
                <a:lumOff val="34305"/>
                <a:alphaOff val="0"/>
                <a:shade val="85000"/>
                <a:satMod val="130000"/>
              </a:srgbClr>
            </a:gs>
            <a:gs pos="34000">
              <a:srgbClr val="14B94C">
                <a:shade val="80000"/>
                <a:hueOff val="-625390"/>
                <a:satOff val="-42216"/>
                <a:lumOff val="34305"/>
                <a:alphaOff val="0"/>
                <a:shade val="87000"/>
                <a:satMod val="125000"/>
              </a:srgbClr>
            </a:gs>
            <a:gs pos="70000">
              <a:srgbClr val="14B94C">
                <a:shade val="80000"/>
                <a:hueOff val="-625390"/>
                <a:satOff val="-42216"/>
                <a:lumOff val="34305"/>
                <a:alphaOff val="0"/>
                <a:tint val="100000"/>
                <a:shade val="90000"/>
                <a:satMod val="130000"/>
              </a:srgbClr>
            </a:gs>
            <a:gs pos="100000">
              <a:srgbClr val="14B94C">
                <a:shade val="80000"/>
                <a:hueOff val="-625390"/>
                <a:satOff val="-42216"/>
                <a:lumOff val="34305"/>
                <a:alphaOff val="0"/>
                <a:tint val="100000"/>
                <a:shade val="100000"/>
                <a:satMod val="110000"/>
              </a:srgb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38100" dist="25400" dir="2700000" algn="br" rotWithShape="0">
            <a:srgbClr val="000000">
              <a:alpha val="60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l" defTabSz="1333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b="1" kern="1200">
              <a:solidFill>
                <a:srgbClr val="FFFFFF"/>
              </a:solidFill>
              <a:latin typeface="Tw Cen MT" panose="020F0302020204030204"/>
              <a:ea typeface="+mn-ea"/>
              <a:cs typeface="+mn-cs"/>
            </a:rPr>
            <a:t>23 temas de aprendizaje</a:t>
          </a:r>
          <a:endParaRPr lang="es-ES" sz="3000" kern="1200">
            <a:solidFill>
              <a:srgbClr val="FFFFFF"/>
            </a:solidFill>
            <a:latin typeface="Tw Cen MT" panose="020F0302020204030204"/>
            <a:ea typeface="+mn-ea"/>
            <a:cs typeface="+mn-cs"/>
          </a:endParaRPr>
        </a:p>
      </dsp:txBody>
      <dsp:txXfrm>
        <a:off x="1031870" y="1949536"/>
        <a:ext cx="3498696" cy="1466495"/>
      </dsp:txXfrm>
    </dsp:sp>
    <dsp:sp modelId="{4D18822A-DD2E-46D3-8D4C-2FE5758E7FF7}">
      <dsp:nvSpPr>
        <dsp:cNvPr id="0" name=""/>
        <dsp:cNvSpPr/>
      </dsp:nvSpPr>
      <dsp:spPr>
        <a:xfrm>
          <a:off x="4576192" y="1224561"/>
          <a:ext cx="1012534" cy="1012534"/>
        </a:xfrm>
        <a:prstGeom prst="downArrow">
          <a:avLst>
            <a:gd name="adj1" fmla="val 55000"/>
            <a:gd name="adj2" fmla="val 45000"/>
          </a:avLst>
        </a:prstGeom>
        <a:solidFill>
          <a:srgbClr val="14B94C">
            <a:alpha val="90000"/>
            <a:tint val="4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14B94C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>
          <a:outerShdw blurRad="38100" dist="25400" dir="2700000" algn="br" rotWithShape="0">
            <a:srgbClr val="000000">
              <a:alpha val="60000"/>
            </a:srgbClr>
          </a:outerShdw>
        </a:effectLst>
        <a:scene3d>
          <a:camera prst="orthographicFront"/>
          <a:lightRig rig="flat" dir="t"/>
        </a:scene3d>
        <a:sp3d z="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3600" kern="12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Tw Cen MT" panose="020F0502020204030204"/>
            <a:ea typeface="+mn-ea"/>
            <a:cs typeface="+mn-cs"/>
          </a:endParaRPr>
        </a:p>
      </dsp:txBody>
      <dsp:txXfrm>
        <a:off x="4804012" y="1224561"/>
        <a:ext cx="556894" cy="761932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94A79C5-9CA5-4E46-B8F8-0B17F6DD84D0}">
      <dsp:nvSpPr>
        <dsp:cNvPr id="0" name=""/>
        <dsp:cNvSpPr/>
      </dsp:nvSpPr>
      <dsp:spPr>
        <a:xfrm>
          <a:off x="0" y="807428"/>
          <a:ext cx="4455879" cy="1614857"/>
        </a:xfrm>
        <a:prstGeom prst="roundRect">
          <a:avLst>
            <a:gd name="adj" fmla="val 10000"/>
          </a:avLst>
        </a:prstGeom>
        <a:solidFill>
          <a:srgbClr val="D59617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marL="0" lvl="0" indent="0" algn="ctr" defTabSz="1778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000" b="0" i="0" u="none" strike="noStrike" kern="1200" cap="none" baseline="0" noProof="0">
              <a:solidFill>
                <a:srgbClr val="FFFFFF"/>
              </a:solidFill>
              <a:latin typeface="Tw Cen MT"/>
              <a:ea typeface="+mn-ea"/>
              <a:cs typeface="+mn-cs"/>
            </a:rPr>
            <a:t>Recomendaciones de la OCI y la OAP</a:t>
          </a:r>
        </a:p>
      </dsp:txBody>
      <dsp:txXfrm>
        <a:off x="47298" y="854726"/>
        <a:ext cx="4361283" cy="152026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28C98C-1690-40AE-B71E-59D92010BD64}" type="datetimeFigureOut">
              <a:rPr lang="es-CO" smtClean="0"/>
              <a:t>31/01/2020</a:t>
            </a:fld>
            <a:endParaRPr lang="es-CO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5BB0B1-D496-41DB-9293-9ED44DD66546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0800494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09A013-DEA3-4AF1-93D3-217569D77F1F}" type="datetimeFigureOut">
              <a:rPr lang="es-CO" smtClean="0"/>
              <a:t>31/01/2020</a:t>
            </a:fld>
            <a:endParaRPr lang="es-CO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O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038091-EFE9-4125-AEC5-3A6520A8B280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222960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13" Type="http://schemas.openxmlformats.org/officeDocument/2006/relationships/image" Target="../media/image6.png"/><Relationship Id="rId3" Type="http://schemas.openxmlformats.org/officeDocument/2006/relationships/tags" Target="../tags/tag2.xml"/><Relationship Id="rId7" Type="http://schemas.openxmlformats.org/officeDocument/2006/relationships/slideMaster" Target="../slideMasters/slideMaster3.xml"/><Relationship Id="rId12" Type="http://schemas.openxmlformats.org/officeDocument/2006/relationships/image" Target="../media/image5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image" Target="../media/image4.png"/><Relationship Id="rId5" Type="http://schemas.openxmlformats.org/officeDocument/2006/relationships/tags" Target="../tags/tag4.xml"/><Relationship Id="rId10" Type="http://schemas.openxmlformats.org/officeDocument/2006/relationships/oleObject" Target="../embeddings/oleObject2.bin"/><Relationship Id="rId4" Type="http://schemas.openxmlformats.org/officeDocument/2006/relationships/tags" Target="../tags/tag3.xml"/><Relationship Id="rId9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6933234" y="2934705"/>
            <a:ext cx="4420565" cy="1325563"/>
          </a:xfrm>
          <a:prstGeom prst="rect">
            <a:avLst/>
          </a:prstGeom>
        </p:spPr>
        <p:txBody>
          <a:bodyPr/>
          <a:lstStyle>
            <a:lvl1pPr>
              <a:defRPr sz="4400"/>
            </a:lvl1pPr>
          </a:lstStyle>
          <a:p>
            <a:r>
              <a:rPr lang="es-CO" sz="4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tulo</a:t>
            </a:r>
            <a:br>
              <a:rPr lang="es-CO" sz="4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s-CO" sz="40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tulo</a:t>
            </a:r>
            <a:endParaRPr lang="es-CO" sz="40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20721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37058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BBF4DDC-367A-465B-99BA-3A6BD7C8DBD8}" type="datetimeFigureOut">
              <a:rPr lang="es-CO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1/01/2020</a:t>
            </a:fld>
            <a:endParaRPr lang="es-CO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CO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F8B30944-051C-4B02-9A24-A96A55BE136C}" type="slidenum">
              <a:rPr lang="es-CO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s-CO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84868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F8B30944-051C-4B02-9A24-A96A55BE136C}" type="slidenum">
              <a:rPr lang="es-CO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s-CO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00622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96456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153091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9827BC-71E8-4D1C-9788-FBC495BA6309}" type="datetimeFigureOut">
              <a:rPr lang="es-CO" smtClean="0"/>
              <a:t>31/01/2020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7DB916-1D21-444E-8D44-3E23AB5E0576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4983195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46455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6B947D9-9CA7-40FA-8840-A4881746C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68981" y="0"/>
            <a:ext cx="5423019" cy="506546"/>
          </a:xfrm>
          <a:prstGeom prst="rect">
            <a:avLst/>
          </a:prstGeom>
          <a:solidFill>
            <a:srgbClr val="FFC000"/>
          </a:solidFill>
        </p:spPr>
        <p:txBody>
          <a:bodyPr anchor="ctr"/>
          <a:lstStyle>
            <a:lvl1pPr algn="ctr">
              <a:defRPr sz="300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título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4374066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35213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6B947D9-9CA7-40FA-8840-A4881746C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68981" y="0"/>
            <a:ext cx="5423019" cy="684000"/>
          </a:xfrm>
          <a:prstGeom prst="rect">
            <a:avLst/>
          </a:prstGeom>
          <a:solidFill>
            <a:srgbClr val="FFC000"/>
          </a:solidFill>
        </p:spPr>
        <p:txBody>
          <a:bodyPr anchor="ctr"/>
          <a:lstStyle>
            <a:lvl1pPr algn="ctr">
              <a:defRPr sz="300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título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5545160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18" y="1589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2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8" y="1589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618" y="1589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1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8" y="1589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8"/>
          <p:cNvSpPr/>
          <p:nvPr userDrawn="1">
            <p:custDataLst>
              <p:tags r:id="rId4"/>
            </p:custDataLst>
          </p:nvPr>
        </p:nvSpPr>
        <p:spPr>
          <a:xfrm rot="10800000" flipH="1" flipV="1">
            <a:off x="-2" y="1058894"/>
            <a:ext cx="11452225" cy="46037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60" tIns="45542" rIns="91060" bIns="45542" anchor="ctr"/>
          <a:lstStyle/>
          <a:p>
            <a:pPr algn="ctr" defTabSz="910618">
              <a:defRPr/>
            </a:pPr>
            <a:endParaRPr lang="en-US" sz="1427">
              <a:solidFill>
                <a:prstClr val="white"/>
              </a:solidFill>
              <a:latin typeface="Candara"/>
              <a:sym typeface="Candara"/>
            </a:endParaRPr>
          </a:p>
        </p:txBody>
      </p:sp>
      <p:sp>
        <p:nvSpPr>
          <p:cNvPr id="9" name="Rectangle 11"/>
          <p:cNvSpPr/>
          <p:nvPr userDrawn="1">
            <p:custDataLst>
              <p:tags r:id="rId5"/>
            </p:custDataLst>
          </p:nvPr>
        </p:nvSpPr>
        <p:spPr>
          <a:xfrm rot="10800000" flipH="1" flipV="1">
            <a:off x="0" y="6716713"/>
            <a:ext cx="8769350" cy="141287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2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60" tIns="45542" rIns="91060" bIns="45542" anchor="ctr"/>
          <a:lstStyle/>
          <a:p>
            <a:pPr algn="ctr" defTabSz="910618">
              <a:defRPr/>
            </a:pPr>
            <a:endParaRPr lang="en-US" sz="1427" dirty="0">
              <a:solidFill>
                <a:prstClr val="white"/>
              </a:solidFill>
              <a:latin typeface="Candara"/>
              <a:sym typeface="Candara"/>
            </a:endParaRPr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82" r="77498" b="8749"/>
          <a:stretch/>
        </p:blipFill>
        <p:spPr>
          <a:xfrm>
            <a:off x="7756006" y="6279002"/>
            <a:ext cx="941606" cy="508390"/>
          </a:xfrm>
          <a:prstGeom prst="rect">
            <a:avLst/>
          </a:prstGeom>
        </p:spPr>
      </p:pic>
      <p:pic>
        <p:nvPicPr>
          <p:cNvPr id="13" name="Imagen 12"/>
          <p:cNvPicPr>
            <a:picLocks noChangeAspect="1"/>
          </p:cNvPicPr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188" t="45974" r="39366" b="37798"/>
          <a:stretch/>
        </p:blipFill>
        <p:spPr>
          <a:xfrm>
            <a:off x="8824261" y="6378187"/>
            <a:ext cx="1285358" cy="340430"/>
          </a:xfrm>
          <a:prstGeom prst="rect">
            <a:avLst/>
          </a:prstGeom>
        </p:spPr>
      </p:pic>
      <p:pic>
        <p:nvPicPr>
          <p:cNvPr id="14" name="Imagen 13"/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117" t="46044" r="26012" b="37905"/>
          <a:stretch/>
        </p:blipFill>
        <p:spPr>
          <a:xfrm>
            <a:off x="10274362" y="6379983"/>
            <a:ext cx="1711735" cy="336730"/>
          </a:xfrm>
          <a:prstGeom prst="rect">
            <a:avLst/>
          </a:prstGeom>
        </p:spPr>
      </p:pic>
      <p:sp>
        <p:nvSpPr>
          <p:cNvPr id="15" name="Rectangle 11"/>
          <p:cNvSpPr/>
          <p:nvPr userDrawn="1">
            <p:custDataLst>
              <p:tags r:id="rId6"/>
            </p:custDataLst>
          </p:nvPr>
        </p:nvSpPr>
        <p:spPr>
          <a:xfrm rot="5400000" flipH="1" flipV="1">
            <a:off x="-500379" y="500376"/>
            <a:ext cx="1104932" cy="104177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60" tIns="45542" rIns="91060" bIns="45542" anchor="ctr"/>
          <a:lstStyle/>
          <a:p>
            <a:pPr algn="ctr" defTabSz="910618">
              <a:defRPr/>
            </a:pPr>
            <a:endParaRPr lang="en-US" sz="1427" dirty="0">
              <a:solidFill>
                <a:prstClr val="white"/>
              </a:solidFill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30426852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05679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.png"/><Relationship Id="rId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.png"/><Relationship Id="rId5" Type="http://schemas.openxmlformats.org/officeDocument/2006/relationships/image" Target="../media/image2.pn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.png"/><Relationship Id="rId4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.png"/><Relationship Id="rId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ángulo 6"/>
          <p:cNvSpPr/>
          <p:nvPr userDrawn="1"/>
        </p:nvSpPr>
        <p:spPr>
          <a:xfrm>
            <a:off x="-13996" y="0"/>
            <a:ext cx="6697830" cy="6858000"/>
          </a:xfrm>
          <a:prstGeom prst="rect">
            <a:avLst/>
          </a:prstGeom>
          <a:solidFill>
            <a:srgbClr val="018E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8" name="Rectángulo 7"/>
          <p:cNvSpPr/>
          <p:nvPr userDrawn="1"/>
        </p:nvSpPr>
        <p:spPr>
          <a:xfrm>
            <a:off x="6683834" y="0"/>
            <a:ext cx="5508165" cy="6858000"/>
          </a:xfrm>
          <a:prstGeom prst="rect">
            <a:avLst/>
          </a:prstGeom>
          <a:solidFill>
            <a:srgbClr val="E2E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0" name="Rectángulo 9"/>
          <p:cNvSpPr/>
          <p:nvPr userDrawn="1"/>
        </p:nvSpPr>
        <p:spPr>
          <a:xfrm>
            <a:off x="-13996" y="5878286"/>
            <a:ext cx="6697830" cy="979714"/>
          </a:xfrm>
          <a:prstGeom prst="rect">
            <a:avLst/>
          </a:prstGeom>
          <a:solidFill>
            <a:srgbClr val="018E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1" name="Rectángulo 10"/>
          <p:cNvSpPr/>
          <p:nvPr userDrawn="1"/>
        </p:nvSpPr>
        <p:spPr>
          <a:xfrm>
            <a:off x="6683834" y="5878286"/>
            <a:ext cx="5508165" cy="979714"/>
          </a:xfrm>
          <a:prstGeom prst="rect">
            <a:avLst/>
          </a:prstGeom>
          <a:solidFill>
            <a:srgbClr val="E2E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7191" y="825818"/>
            <a:ext cx="4119126" cy="780466"/>
          </a:xfrm>
          <a:prstGeom prst="rect">
            <a:avLst/>
          </a:prstGeom>
        </p:spPr>
      </p:pic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3018" y="5642811"/>
            <a:ext cx="2375902" cy="102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410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744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ángulo 6"/>
          <p:cNvSpPr/>
          <p:nvPr userDrawn="1"/>
        </p:nvSpPr>
        <p:spPr>
          <a:xfrm>
            <a:off x="-13996" y="5878286"/>
            <a:ext cx="6697830" cy="979714"/>
          </a:xfrm>
          <a:prstGeom prst="rect">
            <a:avLst/>
          </a:prstGeom>
          <a:solidFill>
            <a:srgbClr val="018E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8" name="Rectángulo 7"/>
          <p:cNvSpPr/>
          <p:nvPr userDrawn="1"/>
        </p:nvSpPr>
        <p:spPr>
          <a:xfrm>
            <a:off x="6683834" y="5878286"/>
            <a:ext cx="5508165" cy="979714"/>
          </a:xfrm>
          <a:prstGeom prst="rect">
            <a:avLst/>
          </a:prstGeom>
          <a:solidFill>
            <a:srgbClr val="E2E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8920" y="5936343"/>
            <a:ext cx="1980000" cy="858213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9130" y="6075698"/>
            <a:ext cx="3224784" cy="611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25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ángulo 6"/>
          <p:cNvSpPr/>
          <p:nvPr userDrawn="1"/>
        </p:nvSpPr>
        <p:spPr>
          <a:xfrm>
            <a:off x="-13996" y="5878286"/>
            <a:ext cx="6697830" cy="979714"/>
          </a:xfrm>
          <a:prstGeom prst="rect">
            <a:avLst/>
          </a:prstGeom>
          <a:solidFill>
            <a:srgbClr val="018E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8" name="Rectángulo 7"/>
          <p:cNvSpPr/>
          <p:nvPr userDrawn="1"/>
        </p:nvSpPr>
        <p:spPr>
          <a:xfrm>
            <a:off x="6683834" y="5878286"/>
            <a:ext cx="5508165" cy="979714"/>
          </a:xfrm>
          <a:prstGeom prst="rect">
            <a:avLst/>
          </a:prstGeom>
          <a:solidFill>
            <a:srgbClr val="E2E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8920" y="5936343"/>
            <a:ext cx="1980000" cy="858213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9130" y="6075698"/>
            <a:ext cx="3224784" cy="611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4570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742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997" y="0"/>
            <a:ext cx="12205995" cy="7049198"/>
          </a:xfrm>
          <a:prstGeom prst="rect">
            <a:avLst/>
          </a:prstGeom>
        </p:spPr>
      </p:pic>
      <p:sp>
        <p:nvSpPr>
          <p:cNvPr id="7" name="Rectángulo 6"/>
          <p:cNvSpPr/>
          <p:nvPr userDrawn="1"/>
        </p:nvSpPr>
        <p:spPr>
          <a:xfrm>
            <a:off x="-13996" y="5878286"/>
            <a:ext cx="6697830" cy="979714"/>
          </a:xfrm>
          <a:prstGeom prst="rect">
            <a:avLst/>
          </a:prstGeom>
          <a:solidFill>
            <a:srgbClr val="018E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8" name="Rectángulo 7"/>
          <p:cNvSpPr/>
          <p:nvPr userDrawn="1"/>
        </p:nvSpPr>
        <p:spPr>
          <a:xfrm>
            <a:off x="6683834" y="5878286"/>
            <a:ext cx="5508165" cy="979714"/>
          </a:xfrm>
          <a:prstGeom prst="rect">
            <a:avLst/>
          </a:prstGeom>
          <a:solidFill>
            <a:srgbClr val="E2E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8920" y="5936343"/>
            <a:ext cx="1980000" cy="858213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9130" y="6075698"/>
            <a:ext cx="3224784" cy="611012"/>
          </a:xfrm>
          <a:prstGeom prst="rect">
            <a:avLst/>
          </a:prstGeom>
        </p:spPr>
      </p:pic>
      <p:sp>
        <p:nvSpPr>
          <p:cNvPr id="11" name="Título 1"/>
          <p:cNvSpPr txBox="1">
            <a:spLocks/>
          </p:cNvSpPr>
          <p:nvPr userDrawn="1"/>
        </p:nvSpPr>
        <p:spPr>
          <a:xfrm>
            <a:off x="6675120" y="0"/>
            <a:ext cx="5516880" cy="608009"/>
          </a:xfrm>
          <a:prstGeom prst="rect">
            <a:avLst/>
          </a:prstGeom>
          <a:solidFill>
            <a:srgbClr val="FFC000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CO" sz="3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ACIAS</a:t>
            </a:r>
            <a:endParaRPr lang="es-CO" sz="30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4322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24658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997" y="0"/>
            <a:ext cx="12205995" cy="7049198"/>
          </a:xfrm>
          <a:prstGeom prst="rect">
            <a:avLst/>
          </a:prstGeom>
        </p:spPr>
      </p:pic>
      <p:sp>
        <p:nvSpPr>
          <p:cNvPr id="7" name="Rectángulo 6"/>
          <p:cNvSpPr/>
          <p:nvPr userDrawn="1"/>
        </p:nvSpPr>
        <p:spPr>
          <a:xfrm>
            <a:off x="-13996" y="5878286"/>
            <a:ext cx="6697830" cy="979714"/>
          </a:xfrm>
          <a:prstGeom prst="rect">
            <a:avLst/>
          </a:prstGeom>
          <a:solidFill>
            <a:srgbClr val="018E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8" name="Rectángulo 7"/>
          <p:cNvSpPr/>
          <p:nvPr userDrawn="1"/>
        </p:nvSpPr>
        <p:spPr>
          <a:xfrm>
            <a:off x="6683834" y="5878286"/>
            <a:ext cx="5508165" cy="979714"/>
          </a:xfrm>
          <a:prstGeom prst="rect">
            <a:avLst/>
          </a:prstGeom>
          <a:solidFill>
            <a:srgbClr val="E2E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8920" y="5936343"/>
            <a:ext cx="1980000" cy="858213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9130" y="6075698"/>
            <a:ext cx="3224784" cy="611012"/>
          </a:xfrm>
          <a:prstGeom prst="rect">
            <a:avLst/>
          </a:prstGeom>
        </p:spPr>
      </p:pic>
      <p:sp>
        <p:nvSpPr>
          <p:cNvPr id="11" name="Título 1"/>
          <p:cNvSpPr txBox="1">
            <a:spLocks/>
          </p:cNvSpPr>
          <p:nvPr userDrawn="1"/>
        </p:nvSpPr>
        <p:spPr>
          <a:xfrm>
            <a:off x="6675120" y="0"/>
            <a:ext cx="5516880" cy="608009"/>
          </a:xfrm>
          <a:prstGeom prst="rect">
            <a:avLst/>
          </a:prstGeom>
          <a:solidFill>
            <a:srgbClr val="FFC000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CO" sz="3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ACIAS</a:t>
            </a:r>
            <a:endParaRPr lang="es-CO" sz="30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43055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7" Type="http://schemas.openxmlformats.org/officeDocument/2006/relationships/image" Target="../media/image23.pn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/>
          <p:cNvSpPr/>
          <p:nvPr/>
        </p:nvSpPr>
        <p:spPr>
          <a:xfrm>
            <a:off x="-42854" y="0"/>
            <a:ext cx="6385767" cy="6858000"/>
          </a:xfrm>
          <a:prstGeom prst="rect">
            <a:avLst/>
          </a:prstGeom>
          <a:solidFill>
            <a:srgbClr val="018E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5" name="Rectángulo 4"/>
          <p:cNvSpPr/>
          <p:nvPr/>
        </p:nvSpPr>
        <p:spPr>
          <a:xfrm>
            <a:off x="6371770" y="0"/>
            <a:ext cx="5834742" cy="67653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8" name="Rectángulo 7"/>
          <p:cNvSpPr/>
          <p:nvPr/>
        </p:nvSpPr>
        <p:spPr>
          <a:xfrm>
            <a:off x="-13996" y="5878286"/>
            <a:ext cx="6371253" cy="979714"/>
          </a:xfrm>
          <a:prstGeom prst="rect">
            <a:avLst/>
          </a:prstGeom>
          <a:solidFill>
            <a:srgbClr val="018E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9" name="Rectángulo 8"/>
          <p:cNvSpPr/>
          <p:nvPr/>
        </p:nvSpPr>
        <p:spPr>
          <a:xfrm>
            <a:off x="6371770" y="5878286"/>
            <a:ext cx="5820229" cy="979714"/>
          </a:xfrm>
          <a:prstGeom prst="rect">
            <a:avLst/>
          </a:prstGeom>
          <a:solidFill>
            <a:srgbClr val="E2E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pic>
        <p:nvPicPr>
          <p:cNvPr id="16" name="Imagen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8692" y="772064"/>
            <a:ext cx="4119126" cy="780466"/>
          </a:xfrm>
          <a:prstGeom prst="rect">
            <a:avLst/>
          </a:prstGeom>
        </p:spPr>
      </p:pic>
      <p:pic>
        <p:nvPicPr>
          <p:cNvPr id="17" name="Imagen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3018" y="5642811"/>
            <a:ext cx="2375902" cy="1029813"/>
          </a:xfrm>
          <a:prstGeom prst="rect">
            <a:avLst/>
          </a:prstGeom>
        </p:spPr>
      </p:pic>
      <p:pic>
        <p:nvPicPr>
          <p:cNvPr id="11" name="Imagen 10"/>
          <p:cNvPicPr>
            <a:picLocks noChangeAspect="1"/>
          </p:cNvPicPr>
          <p:nvPr/>
        </p:nvPicPr>
        <p:blipFill rotWithShape="1">
          <a:blip r:embed="rId4"/>
          <a:srcRect t="8471" r="56471" b="17647"/>
          <a:stretch/>
        </p:blipFill>
        <p:spPr>
          <a:xfrm>
            <a:off x="6276109" y="1482435"/>
            <a:ext cx="2563091" cy="453043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0" name="Título 1"/>
          <p:cNvSpPr txBox="1">
            <a:spLocks/>
          </p:cNvSpPr>
          <p:nvPr/>
        </p:nvSpPr>
        <p:spPr>
          <a:xfrm>
            <a:off x="8637431" y="0"/>
            <a:ext cx="3554569" cy="5872765"/>
          </a:xfrm>
          <a:prstGeom prst="rect">
            <a:avLst/>
          </a:prstGeom>
          <a:solidFill>
            <a:srgbClr val="FFC000"/>
          </a:solidFill>
        </p:spPr>
        <p:txBody>
          <a:bodyPr anchor="b">
            <a:normAutofit fontScale="92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rgbClr val="1F4E7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s-ES" sz="3700" dirty="0">
              <a:solidFill>
                <a:schemeClr val="tx1"/>
              </a:solidFill>
            </a:endParaRPr>
          </a:p>
          <a:p>
            <a:endParaRPr lang="es-ES" sz="3700" dirty="0">
              <a:solidFill>
                <a:schemeClr val="tx1"/>
              </a:solidFill>
            </a:endParaRPr>
          </a:p>
          <a:p>
            <a:endParaRPr lang="es-ES" sz="3700" dirty="0">
              <a:solidFill>
                <a:schemeClr val="tx1"/>
              </a:solidFill>
            </a:endParaRPr>
          </a:p>
          <a:p>
            <a:endParaRPr lang="es-ES" sz="3700" dirty="0">
              <a:solidFill>
                <a:schemeClr val="tx1"/>
              </a:solidFill>
            </a:endParaRPr>
          </a:p>
          <a:p>
            <a:endParaRPr lang="es-ES" sz="3700" dirty="0">
              <a:solidFill>
                <a:schemeClr val="tx1"/>
              </a:solidFill>
            </a:endParaRPr>
          </a:p>
          <a:p>
            <a:endParaRPr lang="es-ES" sz="3700" dirty="0">
              <a:solidFill>
                <a:schemeClr val="tx1"/>
              </a:solidFill>
            </a:endParaRPr>
          </a:p>
          <a:p>
            <a:endParaRPr lang="es-ES" sz="3700" dirty="0">
              <a:solidFill>
                <a:schemeClr val="tx1"/>
              </a:solidFill>
            </a:endParaRPr>
          </a:p>
          <a:p>
            <a:endParaRPr lang="es-ES" sz="3700" dirty="0">
              <a:solidFill>
                <a:schemeClr val="tx1"/>
              </a:solidFill>
            </a:endParaRPr>
          </a:p>
          <a:p>
            <a:endParaRPr lang="es-ES" sz="3700" dirty="0">
              <a:solidFill>
                <a:schemeClr val="tx1"/>
              </a:solidFill>
            </a:endParaRPr>
          </a:p>
          <a:p>
            <a:r>
              <a:rPr lang="es-ES" sz="3700" dirty="0">
                <a:solidFill>
                  <a:schemeClr val="tx1"/>
                </a:solidFill>
              </a:rPr>
              <a:t>Plan Institucional de Capacitación</a:t>
            </a:r>
          </a:p>
          <a:p>
            <a:r>
              <a:rPr lang="es-ES" sz="3700" dirty="0">
                <a:solidFill>
                  <a:schemeClr val="tx1"/>
                </a:solidFill>
              </a:rPr>
              <a:t> 2020</a:t>
            </a:r>
          </a:p>
          <a:p>
            <a:endParaRPr lang="es-ES" sz="3700" dirty="0">
              <a:solidFill>
                <a:schemeClr val="tx1"/>
              </a:solidFill>
            </a:endParaRPr>
          </a:p>
          <a:p>
            <a:r>
              <a:rPr lang="es-ES" sz="3700" dirty="0">
                <a:solidFill>
                  <a:schemeClr val="tx1"/>
                </a:solidFill>
              </a:rPr>
              <a:t>(Documento preliminar)</a:t>
            </a:r>
          </a:p>
          <a:p>
            <a:endParaRPr lang="es-ES" sz="3700" dirty="0">
              <a:solidFill>
                <a:schemeClr val="tx1"/>
              </a:solidFill>
            </a:endParaRPr>
          </a:p>
          <a:p>
            <a:endParaRPr lang="es-ES" sz="3700" dirty="0">
              <a:solidFill>
                <a:schemeClr val="tx1"/>
              </a:solidFill>
            </a:endParaRPr>
          </a:p>
          <a:p>
            <a:endParaRPr lang="es-ES" sz="3700" dirty="0">
              <a:solidFill>
                <a:schemeClr val="tx1"/>
              </a:solidFill>
            </a:endParaRPr>
          </a:p>
          <a:p>
            <a:endParaRPr lang="es-ES" sz="3700" dirty="0">
              <a:solidFill>
                <a:schemeClr val="tx1"/>
              </a:solidFill>
            </a:endParaRPr>
          </a:p>
          <a:p>
            <a:endParaRPr lang="es-ES" sz="37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31290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Gráfico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6126918"/>
              </p:ext>
            </p:extLst>
          </p:nvPr>
        </p:nvGraphicFramePr>
        <p:xfrm>
          <a:off x="2185920" y="225112"/>
          <a:ext cx="7524749" cy="54415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2389626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1">
            <a:extLst>
              <a:ext uri="{FF2B5EF4-FFF2-40B4-BE49-F238E27FC236}">
                <a16:creationId xmlns:a16="http://schemas.microsoft.com/office/drawing/2014/main" id="{7CF9AC24-4334-4134-AFFE-F52E932EF536}"/>
              </a:ext>
            </a:extLst>
          </p:cNvPr>
          <p:cNvSpPr txBox="1">
            <a:spLocks/>
          </p:cNvSpPr>
          <p:nvPr/>
        </p:nvSpPr>
        <p:spPr>
          <a:xfrm>
            <a:off x="4974771" y="94034"/>
            <a:ext cx="6574972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400" i="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-5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Tw Cen MT" panose="020F0302020204030204"/>
                <a:ea typeface="+mj-ea"/>
                <a:cs typeface="+mj-cs"/>
              </a:rPr>
              <a:t>Resultados 2 </a:t>
            </a:r>
          </a:p>
        </p:txBody>
      </p:sp>
      <p:cxnSp>
        <p:nvCxnSpPr>
          <p:cNvPr id="10" name="Straight Connector 26">
            <a:extLst>
              <a:ext uri="{FF2B5EF4-FFF2-40B4-BE49-F238E27FC236}">
                <a16:creationId xmlns:a16="http://schemas.microsoft.com/office/drawing/2014/main" id="{D7143990-FA50-4B23-AE6D-E17D22F526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5063482" y="2246569"/>
            <a:ext cx="5852160" cy="0"/>
          </a:xfrm>
          <a:prstGeom prst="line">
            <a:avLst/>
          </a:prstGeom>
          <a:noFill/>
          <a:ln w="12700" cap="flat" cmpd="sng" algn="ctr">
            <a:solidFill>
              <a:srgbClr val="000000">
                <a:lumMod val="75000"/>
                <a:lumOff val="25000"/>
              </a:srgbClr>
            </a:solidFill>
            <a:prstDash val="solid"/>
          </a:ln>
          <a:effectLst/>
        </p:spPr>
      </p:cxnSp>
      <p:graphicFrame>
        <p:nvGraphicFramePr>
          <p:cNvPr id="11" name="Diagrama 5">
            <a:extLst>
              <a:ext uri="{FF2B5EF4-FFF2-40B4-BE49-F238E27FC236}">
                <a16:creationId xmlns:a16="http://schemas.microsoft.com/office/drawing/2014/main" id="{E1B87038-AF8B-486E-93BE-F48DC8C1B7A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09293295"/>
              </p:ext>
            </p:extLst>
          </p:nvPr>
        </p:nvGraphicFramePr>
        <p:xfrm>
          <a:off x="4974769" y="1866524"/>
          <a:ext cx="6574973" cy="34616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2" name="Imagen 10" descr="Imagen que contiene alimentos&#10;&#10;Descripción generada con confianza muy alta">
            <a:extLst>
              <a:ext uri="{FF2B5EF4-FFF2-40B4-BE49-F238E27FC236}">
                <a16:creationId xmlns:a16="http://schemas.microsoft.com/office/drawing/2014/main" id="{19BAE569-066C-47FF-BB5E-0C401A4044B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6853" y="1171175"/>
            <a:ext cx="4152181" cy="3419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7940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13FCE01-A143-4BBE-9CA3-F617FDE0AF55}"/>
              </a:ext>
            </a:extLst>
          </p:cNvPr>
          <p:cNvSpPr txBox="1">
            <a:spLocks/>
          </p:cNvSpPr>
          <p:nvPr/>
        </p:nvSpPr>
        <p:spPr>
          <a:xfrm>
            <a:off x="1406376" y="41902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400" i="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5400" b="0" i="0" u="none" strike="noStrike" kern="1200" cap="none" spc="-5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Tw Cen MT" panose="020F0302020204030204"/>
                <a:ea typeface="+mj-ea"/>
                <a:cs typeface="+mj-cs"/>
              </a:rPr>
              <a:t>Porcentaje de participación de dependencias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A439F6D-D3D7-4C31-8430-F60C3CBA4555}"/>
              </a:ext>
            </a:extLst>
          </p:cNvPr>
          <p:cNvSpPr txBox="1">
            <a:spLocks/>
          </p:cNvSpPr>
          <p:nvPr/>
        </p:nvSpPr>
        <p:spPr>
          <a:xfrm>
            <a:off x="1406376" y="1863500"/>
            <a:ext cx="10058400" cy="3760891"/>
          </a:xfrm>
          <a:prstGeom prst="rect">
            <a:avLst/>
          </a:prstGeom>
        </p:spPr>
        <p:txBody>
          <a:bodyPr vert="horz" lIns="0" tIns="45720" rIns="0" bIns="45720" rtlCol="0" anchor="t">
            <a:normAutofit/>
          </a:bodyPr>
          <a:lstStyle>
            <a:lvl1pPr marL="91440" indent="-9144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3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Tx/>
              <a:buFont typeface="Calibri" pitchFamily="34" charset="0"/>
              <a:buChar char="◦"/>
              <a:defRPr sz="2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Tx/>
              <a:buFont typeface="Calibri" pitchFamily="34" charset="0"/>
              <a:buChar char="◦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Tx/>
              <a:buFont typeface="Calibri" pitchFamily="34" charset="0"/>
              <a:buChar char="◦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Tx/>
              <a:buFont typeface="Calibri" pitchFamily="34" charset="0"/>
              <a:buChar char="◦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91440" marR="0" lvl="0" indent="-91440" algn="ctr" defTabSz="914400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200"/>
              </a:spcAft>
              <a:buClr>
                <a:srgbClr val="E75929"/>
              </a:buClr>
              <a:buSzPct val="100000"/>
              <a:buFont typeface="Calibri" panose="020F0502020204030204" pitchFamily="34" charset="0"/>
              <a:buChar char=" "/>
              <a:tabLst/>
              <a:defRPr/>
            </a:pPr>
            <a:r>
              <a:rPr kumimoji="0" lang="es-ES" sz="23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Tw Cen MT" panose="020F0502020204030204"/>
                <a:ea typeface="+mn-ea"/>
                <a:cs typeface="+mn-cs"/>
              </a:rPr>
              <a:t>De las 43 dependencias de la entidad (17 de planta central y 26 Direcciones territoriales) participaron 9 aportando la información solicitada por dependencias así:</a:t>
            </a:r>
          </a:p>
          <a:p>
            <a:pPr marL="91440" marR="0" lvl="0" indent="-91440" algn="l" defTabSz="914400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200"/>
              </a:spcAft>
              <a:buClr>
                <a:srgbClr val="E75929"/>
              </a:buClr>
              <a:buSzPct val="100000"/>
              <a:buFont typeface="Calibri" panose="020F0502020204030204" pitchFamily="34" charset="0"/>
              <a:buChar char=" "/>
              <a:tabLst/>
              <a:defRPr/>
            </a:pPr>
            <a:endParaRPr kumimoji="0" lang="es-ES" sz="23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Tw Cen MT" panose="020F0502020204030204"/>
              <a:ea typeface="+mn-ea"/>
              <a:cs typeface="+mn-cs"/>
            </a:endParaRPr>
          </a:p>
        </p:txBody>
      </p:sp>
      <p:pic>
        <p:nvPicPr>
          <p:cNvPr id="4" name="Imagen 4" descr="Captura de pantalla de un celular&#10;&#10;Descripción generada con confianza alta">
            <a:extLst>
              <a:ext uri="{FF2B5EF4-FFF2-40B4-BE49-F238E27FC236}">
                <a16:creationId xmlns:a16="http://schemas.microsoft.com/office/drawing/2014/main" id="{F3873F04-E632-4D51-A31F-02F2F42746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59949" y="3083701"/>
            <a:ext cx="8278483" cy="2760365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F6A966C1-C564-410A-A91F-F53F10694822}"/>
              </a:ext>
            </a:extLst>
          </p:cNvPr>
          <p:cNvSpPr txBox="1"/>
          <p:nvPr/>
        </p:nvSpPr>
        <p:spPr>
          <a:xfrm>
            <a:off x="848786" y="3458007"/>
            <a:ext cx="1909313" cy="1077218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4000" b="0" i="0" u="none" strike="noStrike" kern="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w Cen MT" panose="020F0502020204030204"/>
                <a:ea typeface="+mn-ea"/>
                <a:cs typeface="+mn-cs"/>
              </a:rPr>
              <a:t>20%</a:t>
            </a: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w Cen MT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F0502020204030204"/>
                <a:ea typeface="+mn-ea"/>
                <a:cs typeface="+mn-cs"/>
              </a:rPr>
              <a:t>de</a:t>
            </a: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w Cen MT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F0502020204030204"/>
                <a:ea typeface="+mn-ea"/>
                <a:cs typeface="+mn-cs"/>
              </a:rPr>
              <a:t> participación</a:t>
            </a:r>
          </a:p>
        </p:txBody>
      </p:sp>
    </p:spTree>
    <p:extLst>
      <p:ext uri="{BB962C8B-B14F-4D97-AF65-F5344CB8AC3E}">
        <p14:creationId xmlns:p14="http://schemas.microsoft.com/office/powerpoint/2010/main" val="38213526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>
            <a:extLst>
              <a:ext uri="{FF2B5EF4-FFF2-40B4-BE49-F238E27FC236}">
                <a16:creationId xmlns:a16="http://schemas.microsoft.com/office/drawing/2014/main" id="{A8E9C91B-7EAD-4562-AB0E-DFB9663AEC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rgbClr val="262626"/>
          </a:solidFill>
          <a:ln w="15875" cap="flat" cmpd="sng" algn="ctr">
            <a:noFill/>
            <a:prstDash val="solid"/>
          </a:ln>
          <a:effectLst/>
        </p:spPr>
      </p:sp>
      <p:graphicFrame>
        <p:nvGraphicFramePr>
          <p:cNvPr id="3" name="Marcador de contenido 4">
            <a:extLst>
              <a:ext uri="{FF2B5EF4-FFF2-40B4-BE49-F238E27FC236}">
                <a16:creationId xmlns:a16="http://schemas.microsoft.com/office/drawing/2014/main" id="{5591ACAD-548E-4C00-8B73-F9039121E08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08315281"/>
              </p:ext>
            </p:extLst>
          </p:nvPr>
        </p:nvGraphicFramePr>
        <p:xfrm>
          <a:off x="643467" y="700069"/>
          <a:ext cx="10905068" cy="4937025"/>
        </p:xfrm>
        <a:graphic>
          <a:graphicData uri="http://schemas.openxmlformats.org/drawingml/2006/table">
            <a:tbl>
              <a:tblPr firstRow="1" bandRow="1"/>
              <a:tblGrid>
                <a:gridCol w="5321673">
                  <a:extLst>
                    <a:ext uri="{9D8B030D-6E8A-4147-A177-3AD203B41FA5}">
                      <a16:colId xmlns:a16="http://schemas.microsoft.com/office/drawing/2014/main" val="611331248"/>
                    </a:ext>
                  </a:extLst>
                </a:gridCol>
                <a:gridCol w="2093773">
                  <a:extLst>
                    <a:ext uri="{9D8B030D-6E8A-4147-A177-3AD203B41FA5}">
                      <a16:colId xmlns:a16="http://schemas.microsoft.com/office/drawing/2014/main" val="2549684611"/>
                    </a:ext>
                  </a:extLst>
                </a:gridCol>
                <a:gridCol w="2041429">
                  <a:extLst>
                    <a:ext uri="{9D8B030D-6E8A-4147-A177-3AD203B41FA5}">
                      <a16:colId xmlns:a16="http://schemas.microsoft.com/office/drawing/2014/main" val="1714088074"/>
                    </a:ext>
                  </a:extLst>
                </a:gridCol>
                <a:gridCol w="1448193">
                  <a:extLst>
                    <a:ext uri="{9D8B030D-6E8A-4147-A177-3AD203B41FA5}">
                      <a16:colId xmlns:a16="http://schemas.microsoft.com/office/drawing/2014/main" val="843308566"/>
                    </a:ext>
                  </a:extLst>
                </a:gridCol>
              </a:tblGrid>
              <a:tr h="63447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>
                          <a:effectLst/>
                        </a:rPr>
                        <a:t>Tem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E75929"/>
                      </a:solidFill>
                    </a:lnT>
                    <a:lnB w="12700" cmpd="sng">
                      <a:solidFill>
                        <a:srgbClr val="E7592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>
                          <a:effectLst/>
                        </a:rPr>
                        <a:t>Area de conocimient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E75929"/>
                      </a:solidFill>
                    </a:lnT>
                    <a:lnB w="12700" cmpd="sng">
                      <a:solidFill>
                        <a:srgbClr val="E7592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>
                          <a:effectLst/>
                        </a:rPr>
                        <a:t>Nivel de profundidad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E75929"/>
                      </a:solidFill>
                    </a:lnT>
                    <a:lnB w="12700" cmpd="sng">
                      <a:solidFill>
                        <a:srgbClr val="E7592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>
                          <a:effectLst/>
                        </a:rPr>
                        <a:t>N. de solicitude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E75929"/>
                      </a:solidFill>
                    </a:lnT>
                    <a:lnB w="12700" cmpd="sng">
                      <a:solidFill>
                        <a:srgbClr val="E7592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0183974"/>
                  </a:ext>
                </a:extLst>
              </a:tr>
              <a:tr h="63447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>
                          <a:effectLst/>
                        </a:rPr>
                        <a:t>Supervisión e interventoria de Obras / Manual de interventoría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E75929"/>
                      </a:solidFill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/>
                        <a:t>Area técnic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E75929"/>
                      </a:solidFill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/>
                        <a:t>Avanzad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E75929"/>
                      </a:solidFill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/>
                        <a:t>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E75929"/>
                      </a:solidFill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6539480"/>
                  </a:ext>
                </a:extLst>
              </a:tr>
              <a:tr h="33706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>
                          <a:effectLst/>
                        </a:rPr>
                        <a:t>Gerencia de proyecto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/>
                        <a:t>Area técnic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/>
                        <a:t>Avanzad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/>
                        <a:t>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065762"/>
                  </a:ext>
                </a:extLst>
              </a:tr>
              <a:tr h="33706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>
                          <a:effectLst/>
                        </a:rPr>
                        <a:t>Planeación y seguimiento de proyecto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/>
                        <a:t>Area técnic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/>
                        <a:t>Avanzad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/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9694120"/>
                  </a:ext>
                </a:extLst>
              </a:tr>
              <a:tr h="33706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>
                          <a:effectLst/>
                        </a:rPr>
                        <a:t>Reglamentación en materia vi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/>
                        <a:t>Area técnic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/>
                        <a:t>Avanzad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/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4060761"/>
                  </a:ext>
                </a:extLst>
              </a:tr>
              <a:tr h="63447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>
                          <a:effectLst/>
                        </a:rPr>
                        <a:t>Estructuración de proyectos / planes de inversión / Project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/>
                        <a:t>Area técnic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/>
                        <a:t>Medi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/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650113"/>
                  </a:ext>
                </a:extLst>
              </a:tr>
              <a:tr h="33706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>
                          <a:effectLst/>
                        </a:rPr>
                        <a:t>Actualización en conceptos de consulta previ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/>
                        <a:t>Area técnic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/>
                        <a:t>Medi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/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156381"/>
                  </a:ext>
                </a:extLst>
              </a:tr>
              <a:tr h="33706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>
                          <a:effectLst/>
                        </a:rPr>
                        <a:t>Gestión predi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/>
                        <a:t>Area técnic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/>
                        <a:t>Medi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/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821772"/>
                  </a:ext>
                </a:extLst>
              </a:tr>
              <a:tr h="33706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>
                          <a:effectLst/>
                        </a:rPr>
                        <a:t>Actualización normatividad ambient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/>
                        <a:t>Area técnic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/>
                        <a:t>Medi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/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5188773"/>
                  </a:ext>
                </a:extLst>
              </a:tr>
              <a:tr h="33706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>
                          <a:effectLst/>
                        </a:rPr>
                        <a:t>Gestión predi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/>
                        <a:t>Area técnic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/>
                        <a:t>Medi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/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2854464"/>
                  </a:ext>
                </a:extLst>
              </a:tr>
              <a:tr h="33706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>
                          <a:effectLst/>
                        </a:rPr>
                        <a:t>Sistema de información geográfic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/>
                        <a:t>Area técnic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/>
                        <a:t>Medi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/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3864360"/>
                  </a:ext>
                </a:extLst>
              </a:tr>
              <a:tr h="33706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>
                          <a:effectLst/>
                        </a:rPr>
                        <a:t>Notariado y registr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solidFill>
                        <a:srgbClr val="E7592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/>
                        <a:t>Area técnic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solidFill>
                        <a:srgbClr val="E7592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/>
                        <a:t>Medi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solidFill>
                        <a:srgbClr val="E7592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2000" dirty="0"/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solidFill>
                        <a:srgbClr val="E7592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4802965"/>
                  </a:ext>
                </a:extLst>
              </a:tr>
            </a:tbl>
          </a:graphicData>
        </a:graphic>
      </p:graphicFrame>
      <p:sp>
        <p:nvSpPr>
          <p:cNvPr id="4" name="CuadroTexto 3">
            <a:extLst>
              <a:ext uri="{FF2B5EF4-FFF2-40B4-BE49-F238E27FC236}">
                <a16:creationId xmlns:a16="http://schemas.microsoft.com/office/drawing/2014/main" id="{1FD4C666-E591-4372-A4B0-4F66CD1512CA}"/>
              </a:ext>
            </a:extLst>
          </p:cNvPr>
          <p:cNvSpPr txBox="1"/>
          <p:nvPr/>
        </p:nvSpPr>
        <p:spPr>
          <a:xfrm>
            <a:off x="2193985" y="-92015"/>
            <a:ext cx="8422255" cy="923330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5400" b="0" i="0" u="none" strike="noStrike" kern="0" cap="none" spc="-50" normalizeH="0" baseline="0" noProof="0" dirty="0">
                <a:ln>
                  <a:noFill/>
                </a:ln>
                <a:effectLst/>
                <a:uLnTx/>
                <a:uFillTx/>
                <a:latin typeface="Tw Cen MT" panose="020F0502020204030204"/>
                <a:ea typeface="+mn-ea"/>
                <a:cs typeface="+mn-cs"/>
              </a:rPr>
              <a:t>Solicitudes</a:t>
            </a:r>
            <a:r>
              <a:rPr kumimoji="0" lang="es-ES" sz="5400" b="0" i="0" u="none" strike="noStrike" kern="0" cap="none" spc="-50" normalizeH="0" baseline="0" noProof="0" dirty="0">
                <a:ln>
                  <a:noFill/>
                </a:ln>
                <a:effectLst/>
                <a:uLnTx/>
                <a:uFillTx/>
                <a:latin typeface="Tw Cen MT" panose="020F0302020204030204"/>
                <a:ea typeface="+mn-ea"/>
                <a:cs typeface="+mn-cs"/>
              </a:rPr>
              <a:t> en el área técnica</a:t>
            </a:r>
          </a:p>
        </p:txBody>
      </p:sp>
    </p:spTree>
    <p:extLst>
      <p:ext uri="{BB962C8B-B14F-4D97-AF65-F5344CB8AC3E}">
        <p14:creationId xmlns:p14="http://schemas.microsoft.com/office/powerpoint/2010/main" val="38042462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Marcador de contenido 4">
            <a:extLst>
              <a:ext uri="{FF2B5EF4-FFF2-40B4-BE49-F238E27FC236}">
                <a16:creationId xmlns:a16="http://schemas.microsoft.com/office/drawing/2014/main" id="{C84940D5-1957-4995-998E-5537B12DED5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26200500"/>
              </p:ext>
            </p:extLst>
          </p:nvPr>
        </p:nvGraphicFramePr>
        <p:xfrm>
          <a:off x="1119376" y="532446"/>
          <a:ext cx="9985253" cy="5119725"/>
        </p:xfrm>
        <a:graphic>
          <a:graphicData uri="http://schemas.openxmlformats.org/drawingml/2006/table">
            <a:tbl>
              <a:tblPr firstRow="1" bandRow="1"/>
              <a:tblGrid>
                <a:gridCol w="4479017">
                  <a:extLst>
                    <a:ext uri="{9D8B030D-6E8A-4147-A177-3AD203B41FA5}">
                      <a16:colId xmlns:a16="http://schemas.microsoft.com/office/drawing/2014/main" val="2113536598"/>
                    </a:ext>
                  </a:extLst>
                </a:gridCol>
                <a:gridCol w="2004975">
                  <a:extLst>
                    <a:ext uri="{9D8B030D-6E8A-4147-A177-3AD203B41FA5}">
                      <a16:colId xmlns:a16="http://schemas.microsoft.com/office/drawing/2014/main" val="3684031692"/>
                    </a:ext>
                  </a:extLst>
                </a:gridCol>
                <a:gridCol w="1961112">
                  <a:extLst>
                    <a:ext uri="{9D8B030D-6E8A-4147-A177-3AD203B41FA5}">
                      <a16:colId xmlns:a16="http://schemas.microsoft.com/office/drawing/2014/main" val="4281846013"/>
                    </a:ext>
                  </a:extLst>
                </a:gridCol>
                <a:gridCol w="1540149">
                  <a:extLst>
                    <a:ext uri="{9D8B030D-6E8A-4147-A177-3AD203B41FA5}">
                      <a16:colId xmlns:a16="http://schemas.microsoft.com/office/drawing/2014/main" val="3849723618"/>
                    </a:ext>
                  </a:extLst>
                </a:gridCol>
              </a:tblGrid>
              <a:tr h="5340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 dirty="0">
                          <a:effectLst/>
                        </a:rPr>
                        <a:t>Tem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E75929"/>
                      </a:solidFill>
                    </a:lnT>
                    <a:lnB w="12700" cmpd="sng">
                      <a:solidFill>
                        <a:srgbClr val="E7592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>
                          <a:effectLst/>
                        </a:rPr>
                        <a:t>Area de conocimient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E75929"/>
                      </a:solidFill>
                    </a:lnT>
                    <a:lnB w="12700" cmpd="sng">
                      <a:solidFill>
                        <a:srgbClr val="E7592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>
                          <a:effectLst/>
                        </a:rPr>
                        <a:t>Nivel de profundidad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E75929"/>
                      </a:solidFill>
                    </a:lnT>
                    <a:lnB w="12700" cmpd="sng">
                      <a:solidFill>
                        <a:srgbClr val="E7592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 dirty="0">
                          <a:effectLst/>
                        </a:rPr>
                        <a:t>N. de solicitude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E75929"/>
                      </a:solidFill>
                    </a:lnT>
                    <a:lnB w="12700" cmpd="sng">
                      <a:solidFill>
                        <a:srgbClr val="E7592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6124584"/>
                  </a:ext>
                </a:extLst>
              </a:tr>
              <a:tr h="2836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>
                          <a:effectLst/>
                        </a:rPr>
                        <a:t>Contratación pública / manual de contratac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E75929"/>
                      </a:solidFill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/>
                        <a:t>Area de gest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E75929"/>
                      </a:solidFill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/>
                        <a:t>Avanzad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E75929"/>
                      </a:solidFill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/>
                        <a:t>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E75929"/>
                      </a:solidFill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6310446"/>
                  </a:ext>
                </a:extLst>
              </a:tr>
              <a:tr h="2836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>
                          <a:effectLst/>
                        </a:rPr>
                        <a:t>Gestón documental / Ley de archivo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/>
                        <a:t>Area de gest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/>
                        <a:t>Medi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/>
                        <a:t>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1052622"/>
                  </a:ext>
                </a:extLst>
              </a:tr>
              <a:tr h="2836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>
                          <a:effectLst/>
                        </a:rPr>
                        <a:t>Habilidades blanda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/>
                        <a:t>Area de gest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/>
                        <a:t>Medi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/>
                        <a:t>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8436625"/>
                  </a:ext>
                </a:extLst>
              </a:tr>
              <a:tr h="2836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>
                          <a:effectLst/>
                        </a:rPr>
                        <a:t>TICS y aplicativos propio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/>
                        <a:t>Area de gest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/>
                        <a:t>Avanzad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/>
                        <a:t>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4405303"/>
                  </a:ext>
                </a:extLst>
              </a:tr>
              <a:tr h="5340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>
                          <a:effectLst/>
                        </a:rPr>
                        <a:t>Actualización normativa en las áreas financieras, jurídica y técnic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/>
                        <a:t>Area de gest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/>
                        <a:t>Medi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/>
                        <a:t>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1104569"/>
                  </a:ext>
                </a:extLst>
              </a:tr>
              <a:tr h="2836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>
                          <a:effectLst/>
                        </a:rPr>
                        <a:t>Herramientas ofimática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/>
                        <a:t>Area de gest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/>
                        <a:t>Medi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/>
                        <a:t>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791656"/>
                  </a:ext>
                </a:extLst>
              </a:tr>
              <a:tr h="2836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>
                          <a:effectLst/>
                        </a:rPr>
                        <a:t>Inglé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/>
                        <a:t>Area de gest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/>
                        <a:t>Medi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/>
                        <a:t>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296479"/>
                  </a:ext>
                </a:extLst>
              </a:tr>
              <a:tr h="2836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>
                          <a:effectLst/>
                        </a:rPr>
                        <a:t>Defensa de entidades pública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/>
                        <a:t>Area de gest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/>
                        <a:t>Avanzad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/>
                        <a:t>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7595568"/>
                  </a:ext>
                </a:extLst>
              </a:tr>
              <a:tr h="2836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>
                          <a:effectLst/>
                        </a:rPr>
                        <a:t>MIPG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/>
                        <a:t>Area de gest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/>
                        <a:t>Medi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/>
                        <a:t>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978125"/>
                  </a:ext>
                </a:extLst>
              </a:tr>
              <a:tr h="2836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>
                          <a:effectLst/>
                        </a:rPr>
                        <a:t>Compromiso Institucion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/>
                        <a:t>Area de gest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/>
                        <a:t>Medi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/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1994057"/>
                  </a:ext>
                </a:extLst>
              </a:tr>
              <a:tr h="2836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>
                          <a:effectLst/>
                        </a:rPr>
                        <a:t>Habilidades gerenciale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/>
                        <a:t>Area de gest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/>
                        <a:t>Avanzad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/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6663137"/>
                  </a:ext>
                </a:extLst>
              </a:tr>
              <a:tr h="2836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>
                          <a:effectLst/>
                        </a:rPr>
                        <a:t>Estatuto Anticorrupc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/>
                        <a:t>Area de gest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/>
                        <a:t>Medi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/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1701901"/>
                  </a:ext>
                </a:extLst>
              </a:tr>
              <a:tr h="3636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>
                          <a:effectLst/>
                        </a:rPr>
                        <a:t>Redacción de texto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/>
                        <a:t>Area de gest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/>
                        <a:t>Medi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/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5660800"/>
                  </a:ext>
                </a:extLst>
              </a:tr>
              <a:tr h="2836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>
                          <a:effectLst/>
                        </a:rPr>
                        <a:t>Sistema de Seguridad y Salud en el Trabaj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/>
                        <a:t>Area de gest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/>
                        <a:t>Avanzad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/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2860170"/>
                  </a:ext>
                </a:extLst>
              </a:tr>
              <a:tr h="2836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>
                          <a:effectLst/>
                        </a:rPr>
                        <a:t>Sisteas de Gestión de la entidad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solidFill>
                        <a:srgbClr val="E7592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/>
                        <a:t>Area de gest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solidFill>
                        <a:srgbClr val="E7592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/>
                        <a:t>Medi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solidFill>
                        <a:srgbClr val="E7592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 dirty="0"/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solidFill>
                        <a:srgbClr val="E7592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0440688"/>
                  </a:ext>
                </a:extLst>
              </a:tr>
            </a:tbl>
          </a:graphicData>
        </a:graphic>
      </p:graphicFrame>
      <p:sp>
        <p:nvSpPr>
          <p:cNvPr id="5" name="CuadroTexto 4">
            <a:extLst>
              <a:ext uri="{FF2B5EF4-FFF2-40B4-BE49-F238E27FC236}">
                <a16:creationId xmlns:a16="http://schemas.microsoft.com/office/drawing/2014/main" id="{76953181-C98B-43FD-A205-A86D04536699}"/>
              </a:ext>
            </a:extLst>
          </p:cNvPr>
          <p:cNvSpPr txBox="1"/>
          <p:nvPr/>
        </p:nvSpPr>
        <p:spPr>
          <a:xfrm>
            <a:off x="2625305" y="-106392"/>
            <a:ext cx="8422255" cy="707886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4000" b="0" i="0" u="none" strike="noStrike" kern="0" cap="none" spc="-5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Tw Cen MT" panose="020F0502020204030204"/>
                <a:ea typeface="+mn-ea"/>
                <a:cs typeface="+mn-cs"/>
              </a:rPr>
              <a:t>Solicitudes</a:t>
            </a:r>
            <a:r>
              <a:rPr kumimoji="0" lang="es-ES" sz="4000" b="0" i="0" u="none" strike="noStrike" kern="0" cap="none" spc="-5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Tw Cen MT" panose="020F0302020204030204"/>
                <a:ea typeface="+mn-ea"/>
                <a:cs typeface="+mn-cs"/>
              </a:rPr>
              <a:t> en el área de gestión</a:t>
            </a:r>
          </a:p>
        </p:txBody>
      </p:sp>
    </p:spTree>
    <p:extLst>
      <p:ext uri="{BB962C8B-B14F-4D97-AF65-F5344CB8AC3E}">
        <p14:creationId xmlns:p14="http://schemas.microsoft.com/office/powerpoint/2010/main" val="3039210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>
            <a:extLst>
              <a:ext uri="{FF2B5EF4-FFF2-40B4-BE49-F238E27FC236}">
                <a16:creationId xmlns:a16="http://schemas.microsoft.com/office/drawing/2014/main" id="{7CF9AC24-4334-4134-AFFE-F52E932EF536}"/>
              </a:ext>
            </a:extLst>
          </p:cNvPr>
          <p:cNvSpPr txBox="1">
            <a:spLocks/>
          </p:cNvSpPr>
          <p:nvPr/>
        </p:nvSpPr>
        <p:spPr>
          <a:xfrm>
            <a:off x="878911" y="643468"/>
            <a:ext cx="3177847" cy="167418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400" i="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-5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Tw Cen MT" panose="020F0302020204030204"/>
                <a:ea typeface="+mj-ea"/>
                <a:cs typeface="+mj-cs"/>
              </a:rPr>
              <a:t>Resultados 3 </a:t>
            </a:r>
          </a:p>
        </p:txBody>
      </p:sp>
      <p:cxnSp>
        <p:nvCxnSpPr>
          <p:cNvPr id="7" name="Straight Connector 35">
            <a:extLst>
              <a:ext uri="{FF2B5EF4-FFF2-40B4-BE49-F238E27FC236}">
                <a16:creationId xmlns:a16="http://schemas.microsoft.com/office/drawing/2014/main" id="{EEB57AA8-F021-480C-A9E2-F899133136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962164" y="2478513"/>
            <a:ext cx="2926080" cy="0"/>
          </a:xfrm>
          <a:prstGeom prst="line">
            <a:avLst/>
          </a:prstGeom>
          <a:noFill/>
          <a:ln w="12700" cap="flat" cmpd="sng" algn="ctr">
            <a:solidFill>
              <a:srgbClr val="000000">
                <a:lumMod val="75000"/>
                <a:lumOff val="25000"/>
              </a:srgbClr>
            </a:solidFill>
            <a:prstDash val="solid"/>
          </a:ln>
          <a:effectLst/>
        </p:spPr>
      </p:cxnSp>
      <p:pic>
        <p:nvPicPr>
          <p:cNvPr id="8" name="Imagen 8" descr="Imagen que contiene alimentos&#10;&#10;Descripción generada con confianza muy alta">
            <a:extLst>
              <a:ext uri="{FF2B5EF4-FFF2-40B4-BE49-F238E27FC236}">
                <a16:creationId xmlns:a16="http://schemas.microsoft.com/office/drawing/2014/main" id="{2B4BB675-640B-448D-BE0C-79AA027569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27514" y="643466"/>
            <a:ext cx="5544426" cy="5225621"/>
          </a:xfrm>
          <a:prstGeom prst="rect">
            <a:avLst/>
          </a:prstGeom>
        </p:spPr>
      </p:pic>
      <p:graphicFrame>
        <p:nvGraphicFramePr>
          <p:cNvPr id="9" name="Diagrama 5">
            <a:extLst>
              <a:ext uri="{FF2B5EF4-FFF2-40B4-BE49-F238E27FC236}">
                <a16:creationId xmlns:a16="http://schemas.microsoft.com/office/drawing/2014/main" id="{E1B87038-AF8B-486E-93BE-F48DC8C1B7A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76147548"/>
              </p:ext>
            </p:extLst>
          </p:nvPr>
        </p:nvGraphicFramePr>
        <p:xfrm>
          <a:off x="469875" y="2409342"/>
          <a:ext cx="4455879" cy="322971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62915406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>
            <a:extLst>
              <a:ext uri="{FF2B5EF4-FFF2-40B4-BE49-F238E27FC236}">
                <a16:creationId xmlns:a16="http://schemas.microsoft.com/office/drawing/2014/main" id="{48B9F1DE-E483-44C4-B3A8-740D2780FB5B}"/>
              </a:ext>
            </a:extLst>
          </p:cNvPr>
          <p:cNvSpPr txBox="1">
            <a:spLocks/>
          </p:cNvSpPr>
          <p:nvPr/>
        </p:nvSpPr>
        <p:spPr>
          <a:xfrm>
            <a:off x="1066800" y="4505961"/>
            <a:ext cx="10058400" cy="102871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400" i="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5400" b="0" i="0" u="none" strike="noStrike" kern="1200" cap="none" spc="-5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w Cen MT" panose="020F0302020204030204"/>
                <a:ea typeface="+mj-ea"/>
                <a:cs typeface="+mj-cs"/>
              </a:rPr>
              <a:t>Recomendaciones de la OAP</a:t>
            </a:r>
          </a:p>
        </p:txBody>
      </p:sp>
      <p:graphicFrame>
        <p:nvGraphicFramePr>
          <p:cNvPr id="5" name="Marcador de contenido 4">
            <a:extLst>
              <a:ext uri="{FF2B5EF4-FFF2-40B4-BE49-F238E27FC236}">
                <a16:creationId xmlns:a16="http://schemas.microsoft.com/office/drawing/2014/main" id="{BFE09AF9-3335-4479-B00D-E29F5C4FD39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49594475"/>
              </p:ext>
            </p:extLst>
          </p:nvPr>
        </p:nvGraphicFramePr>
        <p:xfrm>
          <a:off x="1588791" y="166948"/>
          <a:ext cx="9252865" cy="3844633"/>
        </p:xfrm>
        <a:graphic>
          <a:graphicData uri="http://schemas.openxmlformats.org/drawingml/2006/table">
            <a:tbl>
              <a:tblPr firstRow="1" bandRow="1"/>
              <a:tblGrid>
                <a:gridCol w="643596">
                  <a:extLst>
                    <a:ext uri="{9D8B030D-6E8A-4147-A177-3AD203B41FA5}">
                      <a16:colId xmlns:a16="http://schemas.microsoft.com/office/drawing/2014/main" val="1820379308"/>
                    </a:ext>
                  </a:extLst>
                </a:gridCol>
                <a:gridCol w="3288899">
                  <a:extLst>
                    <a:ext uri="{9D8B030D-6E8A-4147-A177-3AD203B41FA5}">
                      <a16:colId xmlns:a16="http://schemas.microsoft.com/office/drawing/2014/main" val="2269002837"/>
                    </a:ext>
                  </a:extLst>
                </a:gridCol>
                <a:gridCol w="5320370">
                  <a:extLst>
                    <a:ext uri="{9D8B030D-6E8A-4147-A177-3AD203B41FA5}">
                      <a16:colId xmlns:a16="http://schemas.microsoft.com/office/drawing/2014/main" val="2344477438"/>
                    </a:ext>
                  </a:extLst>
                </a:gridCol>
              </a:tblGrid>
              <a:tr h="31574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700" dirty="0">
                          <a:effectLst/>
                        </a:rPr>
                        <a:t>N. 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700">
                          <a:effectLst/>
                        </a:rPr>
                        <a:t>Tema del procesos aprendizaje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700">
                          <a:effectLst/>
                        </a:rPr>
                        <a:t>Objetivo del proceso de aprendizaje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2903568"/>
                  </a:ext>
                </a:extLst>
              </a:tr>
              <a:tr h="87293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700">
                          <a:effectLst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700" dirty="0">
                          <a:effectLst/>
                        </a:rPr>
                        <a:t>Formulación y Evaluación de Proyectos.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700" dirty="0">
                          <a:effectLst/>
                        </a:rPr>
                        <a:t>Contar con las herramientas necesarias para la adecuada formulación y evaluación de proyectos de inversión.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9440172"/>
                  </a:ext>
                </a:extLst>
              </a:tr>
              <a:tr h="87293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700">
                          <a:effectLst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700">
                          <a:effectLst/>
                        </a:rPr>
                        <a:t>Excel avanzado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700">
                          <a:effectLst/>
                        </a:rPr>
                        <a:t>Contar con los conocimientos y destrezas suficientes para manejar un entorno de hojas de cálculo de Excel en el trabajo diario.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4102479"/>
                  </a:ext>
                </a:extLst>
              </a:tr>
              <a:tr h="87293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700">
                          <a:effectLst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700">
                          <a:effectLst/>
                        </a:rPr>
                        <a:t>Redacció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700">
                          <a:effectLst/>
                        </a:rPr>
                        <a:t>Contar con las herramientas necesarias para la adecuada respuesta a los ciudadanos y documentos de la Entidad, 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1407558"/>
                  </a:ext>
                </a:extLst>
              </a:tr>
              <a:tr h="31574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700">
                          <a:effectLst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700">
                          <a:effectLst/>
                        </a:rPr>
                        <a:t>Resolución de conflictos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700">
                          <a:effectLst/>
                        </a:rPr>
                        <a:t>Mejorar la relaciones interpersonales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7104660"/>
                  </a:ext>
                </a:extLst>
              </a:tr>
              <a:tr h="5943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700">
                          <a:effectLst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700">
                          <a:effectLst/>
                        </a:rPr>
                        <a:t>Pensamiento estratégico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700" dirty="0">
                          <a:effectLst/>
                        </a:rPr>
                        <a:t>Contar con los conocimientos y destrezas para una efectiva planeación estratégica.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15712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7931207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1">
            <a:extLst>
              <a:ext uri="{FF2B5EF4-FFF2-40B4-BE49-F238E27FC236}">
                <a16:creationId xmlns:a16="http://schemas.microsoft.com/office/drawing/2014/main" id="{35567322-8CA1-4C53-ACD9-7FF1BED24833}"/>
              </a:ext>
            </a:extLst>
          </p:cNvPr>
          <p:cNvSpPr txBox="1">
            <a:spLocks/>
          </p:cNvSpPr>
          <p:nvPr/>
        </p:nvSpPr>
        <p:spPr>
          <a:xfrm>
            <a:off x="1169831" y="4750660"/>
            <a:ext cx="10058400" cy="102871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400" i="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5400" b="0" i="0" u="none" strike="noStrike" kern="1200" cap="none" spc="-5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w Cen MT" panose="020F0302020204030204"/>
                <a:ea typeface="+mj-ea"/>
                <a:cs typeface="+mj-cs"/>
              </a:rPr>
              <a:t>Recomendaciones de la OCI</a:t>
            </a:r>
          </a:p>
        </p:txBody>
      </p:sp>
      <p:graphicFrame>
        <p:nvGraphicFramePr>
          <p:cNvPr id="6" name="Marcador de contenido 4">
            <a:extLst>
              <a:ext uri="{FF2B5EF4-FFF2-40B4-BE49-F238E27FC236}">
                <a16:creationId xmlns:a16="http://schemas.microsoft.com/office/drawing/2014/main" id="{224B34F2-24EB-4B19-8287-87D3D873AEA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48087028"/>
              </p:ext>
            </p:extLst>
          </p:nvPr>
        </p:nvGraphicFramePr>
        <p:xfrm>
          <a:off x="1277593" y="399051"/>
          <a:ext cx="9811117" cy="3975748"/>
        </p:xfrm>
        <a:graphic>
          <a:graphicData uri="http://schemas.openxmlformats.org/drawingml/2006/table">
            <a:tbl>
              <a:tblPr firstRow="1" firstCol="1" bandRow="1"/>
              <a:tblGrid>
                <a:gridCol w="713898">
                  <a:extLst>
                    <a:ext uri="{9D8B030D-6E8A-4147-A177-3AD203B41FA5}">
                      <a16:colId xmlns:a16="http://schemas.microsoft.com/office/drawing/2014/main" val="2496489113"/>
                    </a:ext>
                  </a:extLst>
                </a:gridCol>
                <a:gridCol w="3557588">
                  <a:extLst>
                    <a:ext uri="{9D8B030D-6E8A-4147-A177-3AD203B41FA5}">
                      <a16:colId xmlns:a16="http://schemas.microsoft.com/office/drawing/2014/main" val="2861340045"/>
                    </a:ext>
                  </a:extLst>
                </a:gridCol>
                <a:gridCol w="5539631">
                  <a:extLst>
                    <a:ext uri="{9D8B030D-6E8A-4147-A177-3AD203B41FA5}">
                      <a16:colId xmlns:a16="http://schemas.microsoft.com/office/drawing/2014/main" val="2746989463"/>
                    </a:ext>
                  </a:extLst>
                </a:gridCol>
              </a:tblGrid>
              <a:tr h="87944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No.</a:t>
                      </a:r>
                    </a:p>
                  </a:txBody>
                  <a:tcPr marL="45579" marR="45579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Tema del proceso aprendizaje</a:t>
                      </a:r>
                    </a:p>
                  </a:txBody>
                  <a:tcPr marL="45579" marR="45579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Objetivo del proceso de aprendizaje</a:t>
                      </a:r>
                    </a:p>
                  </a:txBody>
                  <a:tcPr marL="45579" marR="45579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5519894"/>
                  </a:ext>
                </a:extLst>
              </a:tr>
              <a:tr h="120251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1</a:t>
                      </a:r>
                    </a:p>
                  </a:txBody>
                  <a:tcPr marL="45579" marR="45579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Administración de los riesgos de gestión, corrupción y seguridad digital.</a:t>
                      </a:r>
                    </a:p>
                  </a:txBody>
                  <a:tcPr marL="45579" marR="45579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Ofrecer herramientas para identificar, analizar y evaluar los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Riesgos, así como ejercer una adecuada gestión del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riesgo y control a los mismos facilitando a la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entidad, la identificación y tratamiento de cada uno de los riesgos.</a:t>
                      </a:r>
                    </a:p>
                  </a:txBody>
                  <a:tcPr marL="45579" marR="45579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4837085"/>
                  </a:ext>
                </a:extLst>
              </a:tr>
              <a:tr h="64981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2</a:t>
                      </a:r>
                    </a:p>
                  </a:txBody>
                  <a:tcPr marL="45579" marR="45579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Diseño de Procesos en el marco de MIPG.</a:t>
                      </a:r>
                    </a:p>
                  </a:txBody>
                  <a:tcPr marL="45579" marR="45579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 Facilitar la mejora del Modelo de Operación por Procesos como herramienta para fortalecer la capacidad de gestión y la mejora en el desempeño institucional.</a:t>
                      </a:r>
                    </a:p>
                  </a:txBody>
                  <a:tcPr marL="45579" marR="45579" marT="0" marB="0" anchor="b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4484406"/>
                  </a:ext>
                </a:extLst>
              </a:tr>
              <a:tr h="64981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3</a:t>
                      </a:r>
                    </a:p>
                  </a:txBody>
                  <a:tcPr marL="45579" marR="45579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Auditorías en sistemas de Gestión.</a:t>
                      </a:r>
                    </a:p>
                  </a:txBody>
                  <a:tcPr marL="45579" marR="45579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Fortalecer y actualizar las competencias de los auditores internos con el fin de contribuir a mejorar la eficacia y la eficiencia en la gestión de la entidad.</a:t>
                      </a:r>
                    </a:p>
                  </a:txBody>
                  <a:tcPr marL="45579" marR="45579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9477086"/>
                  </a:ext>
                </a:extLst>
              </a:tr>
              <a:tr h="4307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4</a:t>
                      </a:r>
                    </a:p>
                  </a:txBody>
                  <a:tcPr marL="45579" marR="45579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Supervisión de Contratos.</a:t>
                      </a:r>
                    </a:p>
                  </a:txBody>
                  <a:tcPr marL="45579" marR="45579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Fortalecer la supervisión de contratos al interior del Invías.</a:t>
                      </a:r>
                    </a:p>
                  </a:txBody>
                  <a:tcPr marL="45579" marR="45579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9371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3883632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>
            <a:extLst>
              <a:ext uri="{FF2B5EF4-FFF2-40B4-BE49-F238E27FC236}">
                <a16:creationId xmlns:a16="http://schemas.microsoft.com/office/drawing/2014/main" id="{51B99472-3C2C-4F7C-919D-49A893667C64}"/>
              </a:ext>
            </a:extLst>
          </p:cNvPr>
          <p:cNvSpPr txBox="1">
            <a:spLocks/>
          </p:cNvSpPr>
          <p:nvPr/>
        </p:nvSpPr>
        <p:spPr>
          <a:xfrm>
            <a:off x="1663209" y="3991261"/>
            <a:ext cx="8511101" cy="154117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400" i="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-5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w Cen MT" panose="020F0302020204030204"/>
                <a:ea typeface="+mj-ea"/>
                <a:cs typeface="+mj-cs"/>
              </a:rPr>
              <a:t>Cronograma priorizado – hoja 1</a:t>
            </a:r>
          </a:p>
        </p:txBody>
      </p:sp>
      <p:graphicFrame>
        <p:nvGraphicFramePr>
          <p:cNvPr id="5" name="Tabla 4">
            <a:extLst>
              <a:ext uri="{FF2B5EF4-FFF2-40B4-BE49-F238E27FC236}">
                <a16:creationId xmlns:a16="http://schemas.microsoft.com/office/drawing/2014/main" id="{D21348D3-22FD-451C-A689-6476F7DF24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1739151"/>
              </p:ext>
            </p:extLst>
          </p:nvPr>
        </p:nvGraphicFramePr>
        <p:xfrm>
          <a:off x="970518" y="192778"/>
          <a:ext cx="10169708" cy="3712035"/>
        </p:xfrm>
        <a:graphic>
          <a:graphicData uri="http://schemas.openxmlformats.org/drawingml/2006/table">
            <a:tbl>
              <a:tblPr firstRow="1" bandRow="1"/>
              <a:tblGrid>
                <a:gridCol w="772530">
                  <a:extLst>
                    <a:ext uri="{9D8B030D-6E8A-4147-A177-3AD203B41FA5}">
                      <a16:colId xmlns:a16="http://schemas.microsoft.com/office/drawing/2014/main" val="1567436931"/>
                    </a:ext>
                  </a:extLst>
                </a:gridCol>
                <a:gridCol w="1509016">
                  <a:extLst>
                    <a:ext uri="{9D8B030D-6E8A-4147-A177-3AD203B41FA5}">
                      <a16:colId xmlns:a16="http://schemas.microsoft.com/office/drawing/2014/main" val="3671512184"/>
                    </a:ext>
                  </a:extLst>
                </a:gridCol>
                <a:gridCol w="977720">
                  <a:extLst>
                    <a:ext uri="{9D8B030D-6E8A-4147-A177-3AD203B41FA5}">
                      <a16:colId xmlns:a16="http://schemas.microsoft.com/office/drawing/2014/main" val="4037769193"/>
                    </a:ext>
                  </a:extLst>
                </a:gridCol>
                <a:gridCol w="2783580">
                  <a:extLst>
                    <a:ext uri="{9D8B030D-6E8A-4147-A177-3AD203B41FA5}">
                      <a16:colId xmlns:a16="http://schemas.microsoft.com/office/drawing/2014/main" val="3114269036"/>
                    </a:ext>
                  </a:extLst>
                </a:gridCol>
                <a:gridCol w="1279578">
                  <a:extLst>
                    <a:ext uri="{9D8B030D-6E8A-4147-A177-3AD203B41FA5}">
                      <a16:colId xmlns:a16="http://schemas.microsoft.com/office/drawing/2014/main" val="2291657273"/>
                    </a:ext>
                  </a:extLst>
                </a:gridCol>
                <a:gridCol w="852396">
                  <a:extLst>
                    <a:ext uri="{9D8B030D-6E8A-4147-A177-3AD203B41FA5}">
                      <a16:colId xmlns:a16="http://schemas.microsoft.com/office/drawing/2014/main" val="2443407337"/>
                    </a:ext>
                  </a:extLst>
                </a:gridCol>
                <a:gridCol w="1994888">
                  <a:extLst>
                    <a:ext uri="{9D8B030D-6E8A-4147-A177-3AD203B41FA5}">
                      <a16:colId xmlns:a16="http://schemas.microsoft.com/office/drawing/2014/main" val="1122174070"/>
                    </a:ext>
                  </a:extLst>
                </a:gridCol>
              </a:tblGrid>
              <a:tr h="62893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100" dirty="0">
                          <a:effectLst/>
                        </a:rPr>
                        <a:t>Áre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75929"/>
                      </a:solidFill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100" dirty="0">
                          <a:effectLst/>
                        </a:rPr>
                        <a:t>Eje Temático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100" dirty="0">
                          <a:effectLst/>
                        </a:rPr>
                        <a:t>Competenci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100" dirty="0">
                          <a:effectLst/>
                        </a:rPr>
                        <a:t>Tem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100" dirty="0">
                          <a:effectLst/>
                        </a:rPr>
                        <a:t>Tipo de Capacitac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lvl="0" algn="ctr">
                        <a:buNone/>
                      </a:pPr>
                      <a:endParaRPr lang="es-ES" dirty="0"/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100" b="1" i="0" u="none" strike="noStrike" noProof="0" dirty="0">
                          <a:effectLst/>
                          <a:latin typeface="Tw Cen MT"/>
                        </a:rPr>
                        <a:t> Programa</a:t>
                      </a:r>
                    </a:p>
                    <a:p>
                      <a:pPr lvl="0" algn="ctr">
                        <a:buNone/>
                      </a:pPr>
                      <a:endParaRPr lang="es-ES" sz="1100" dirty="0">
                        <a:effectLst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100" dirty="0">
                          <a:effectLst/>
                        </a:rPr>
                        <a:t>Recursos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E75929"/>
                      </a:solidFill>
                      <a:prstDash val="solid"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8092033"/>
                  </a:ext>
                </a:extLst>
              </a:tr>
              <a:tr h="6789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100">
                          <a:effectLst/>
                        </a:rPr>
                        <a:t>De apoy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75929"/>
                      </a:solidFill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100">
                          <a:effectLst/>
                        </a:rPr>
                        <a:t>Creación de valor públic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100">
                          <a:effectLst/>
                        </a:rPr>
                        <a:t>Saber – Hacer - Se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 b="1" dirty="0">
                          <a:effectLst/>
                        </a:rPr>
                        <a:t>Inducción gener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100">
                          <a:effectLst/>
                        </a:rPr>
                        <a:t>Bienvenida presencial</a:t>
                      </a:r>
                      <a:br>
                        <a:rPr lang="es-ES" sz="1100" dirty="0">
                          <a:effectLst/>
                        </a:rPr>
                      </a:br>
                      <a:r>
                        <a:rPr lang="es-ES" sz="1100">
                          <a:effectLst/>
                        </a:rPr>
                        <a:t>y </a:t>
                      </a:r>
                      <a:br>
                        <a:rPr lang="es-ES" sz="1100" dirty="0">
                          <a:effectLst/>
                        </a:rPr>
                      </a:br>
                      <a:r>
                        <a:rPr lang="es-ES" sz="1100">
                          <a:effectLst/>
                        </a:rPr>
                        <a:t>Curso Virtu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100" dirty="0">
                          <a:effectLst/>
                        </a:rPr>
                        <a:t>Inducción - Reinducc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100">
                          <a:effectLst/>
                        </a:rPr>
                        <a:t>Presupuesto de invers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E75929"/>
                      </a:solidFill>
                      <a:prstDash val="solid"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976624"/>
                  </a:ext>
                </a:extLst>
              </a:tr>
              <a:tr h="5147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100">
                          <a:effectLst/>
                        </a:rPr>
                        <a:t>De apoy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75929"/>
                      </a:solidFill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100">
                          <a:effectLst/>
                        </a:rPr>
                        <a:t>Creación de valor públic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100">
                          <a:effectLst/>
                        </a:rPr>
                        <a:t>Saber – Hacer - Se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 b="1" dirty="0">
                          <a:effectLst/>
                        </a:rPr>
                        <a:t>Reinducc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100">
                          <a:effectLst/>
                        </a:rPr>
                        <a:t>Curso Virtual</a:t>
                      </a:r>
                      <a:br>
                        <a:rPr lang="es-ES" sz="1100" dirty="0">
                          <a:effectLst/>
                        </a:rPr>
                      </a:br>
                      <a:r>
                        <a:rPr lang="es-ES" sz="1100">
                          <a:effectLst/>
                        </a:rPr>
                        <a:t>o</a:t>
                      </a:r>
                      <a:br>
                        <a:rPr lang="es-ES" sz="1100" dirty="0">
                          <a:effectLst/>
                        </a:rPr>
                      </a:br>
                      <a:r>
                        <a:rPr lang="es-ES" sz="1100">
                          <a:effectLst/>
                        </a:rPr>
                        <a:t>Charla presenci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100">
                          <a:effectLst/>
                        </a:rPr>
                        <a:t>Inducción - Reinducc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100">
                          <a:effectLst/>
                        </a:rPr>
                        <a:t>Presupuesto de Inversión</a:t>
                      </a:r>
                      <a:br>
                        <a:rPr lang="es-ES" sz="1100" dirty="0">
                          <a:effectLst/>
                        </a:rPr>
                      </a:br>
                      <a:br>
                        <a:rPr lang="es-ES" sz="1100" dirty="0">
                          <a:effectLst/>
                        </a:rPr>
                      </a:br>
                      <a:r>
                        <a:rPr lang="es-ES" sz="1100">
                          <a:effectLst/>
                        </a:rPr>
                        <a:t>Escuela Corporativ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E75929"/>
                      </a:solidFill>
                      <a:prstDash val="solid"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5777397"/>
                  </a:ext>
                </a:extLst>
              </a:tr>
              <a:tr h="35043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100">
                          <a:effectLst/>
                        </a:rPr>
                        <a:t>Mision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75929"/>
                      </a:solidFill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100">
                          <a:effectLst/>
                        </a:rPr>
                        <a:t>Gestión de conocimient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100">
                          <a:effectLst/>
                        </a:rPr>
                        <a:t>Saber - Hace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 b="1" dirty="0">
                          <a:effectLst/>
                        </a:rPr>
                        <a:t>Gerencia de Proyecto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100">
                          <a:effectLst/>
                        </a:rPr>
                        <a:t>Diplomad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100">
                          <a:effectLst/>
                        </a:rPr>
                        <a:t>Capacitac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100">
                          <a:effectLst/>
                        </a:rPr>
                        <a:t>Presupuesto de invers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E75929"/>
                      </a:solidFill>
                      <a:prstDash val="solid"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4533838"/>
                  </a:ext>
                </a:extLst>
              </a:tr>
              <a:tr h="47228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100">
                          <a:effectLst/>
                        </a:rPr>
                        <a:t>Mision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75929"/>
                      </a:solidFill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100">
                          <a:effectLst/>
                        </a:rPr>
                        <a:t>Gestión de conocimient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100">
                          <a:effectLst/>
                        </a:rPr>
                        <a:t>Saber - Hace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 b="1" dirty="0">
                          <a:effectLst/>
                        </a:rPr>
                        <a:t>Supervisión e interventoría de obra / Manual de </a:t>
                      </a:r>
                      <a:r>
                        <a:rPr lang="es-ES" sz="1600" b="1" dirty="0" err="1">
                          <a:effectLst/>
                        </a:rPr>
                        <a:t>Interventoria</a:t>
                      </a:r>
                      <a:endParaRPr lang="es-ES" sz="1600" b="1" dirty="0">
                        <a:effectLst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100">
                          <a:effectLst/>
                        </a:rPr>
                        <a:t>Curs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100">
                          <a:effectLst/>
                        </a:rPr>
                        <a:t>Entrenamient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100">
                          <a:effectLst/>
                        </a:rPr>
                        <a:t>Escuela Corporativ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E75929"/>
                      </a:solidFill>
                      <a:prstDash val="solid"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9433434"/>
                  </a:ext>
                </a:extLst>
              </a:tr>
              <a:tr h="35043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100">
                          <a:effectLst/>
                        </a:rPr>
                        <a:t>De apoy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75929"/>
                      </a:solidFill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100">
                          <a:effectLst/>
                        </a:rPr>
                        <a:t>Creación de valor públic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100">
                          <a:effectLst/>
                        </a:rPr>
                        <a:t>Saber -  Hace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 b="1" dirty="0">
                          <a:effectLst/>
                        </a:rPr>
                        <a:t>TIC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100">
                          <a:effectLst/>
                        </a:rPr>
                        <a:t>Curs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100">
                          <a:effectLst/>
                        </a:rPr>
                        <a:t>Capacitac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100">
                          <a:effectLst/>
                        </a:rPr>
                        <a:t>Gestión interinstitucion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E75929"/>
                      </a:solidFill>
                      <a:prstDash val="solid"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680691"/>
                  </a:ext>
                </a:extLst>
              </a:tr>
              <a:tr h="35043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100">
                          <a:effectLst/>
                        </a:rPr>
                        <a:t>De apoy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75929"/>
                      </a:solidFill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100">
                          <a:effectLst/>
                        </a:rPr>
                        <a:t>Creación de valor públic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100">
                          <a:effectLst/>
                        </a:rPr>
                        <a:t>Saber -  Hace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 b="1" dirty="0">
                          <a:effectLst/>
                        </a:rPr>
                        <a:t>Contratación pública / SECOP II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100">
                          <a:effectLst/>
                        </a:rPr>
                        <a:t>Curs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100">
                          <a:effectLst/>
                        </a:rPr>
                        <a:t>Capacitac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100">
                          <a:effectLst/>
                        </a:rPr>
                        <a:t>Presupuesto de inversión o Gestión Interinstitucion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E75929"/>
                      </a:solidFill>
                      <a:prstDash val="solid"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4916062"/>
                  </a:ext>
                </a:extLst>
              </a:tr>
              <a:tr h="35043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100">
                          <a:effectLst/>
                        </a:rPr>
                        <a:t>De apoy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75929"/>
                      </a:solidFill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100">
                          <a:effectLst/>
                        </a:rPr>
                        <a:t>Creación de valor públic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100">
                          <a:effectLst/>
                        </a:rPr>
                        <a:t>Saber -  Hace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 b="1" dirty="0">
                          <a:effectLst/>
                        </a:rPr>
                        <a:t>Planeación presupuest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100">
                          <a:effectLst/>
                        </a:rPr>
                        <a:t>Curs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100">
                          <a:effectLst/>
                        </a:rPr>
                        <a:t>Capacitac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100" dirty="0">
                          <a:effectLst/>
                        </a:rPr>
                        <a:t>Presupuesto de inversión o Gestión Interinstitucion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E75929"/>
                      </a:solidFill>
                      <a:prstDash val="solid"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67140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826909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504981E-E7CC-44AA-93F7-7D9EF761CA24}"/>
              </a:ext>
            </a:extLst>
          </p:cNvPr>
          <p:cNvSpPr txBox="1">
            <a:spLocks/>
          </p:cNvSpPr>
          <p:nvPr/>
        </p:nvSpPr>
        <p:spPr>
          <a:xfrm>
            <a:off x="1289723" y="4454901"/>
            <a:ext cx="8910345" cy="154117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400" i="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-5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w Cen MT" panose="020F0302020204030204"/>
                <a:ea typeface="+mj-ea"/>
                <a:cs typeface="+mj-cs"/>
              </a:rPr>
              <a:t>Cronograma</a:t>
            </a:r>
            <a:r>
              <a:rPr kumimoji="0" lang="en-US" sz="4800" b="0" i="0" u="none" strike="noStrike" kern="1200" cap="none" spc="-5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w Cen MT" panose="020F0302020204030204"/>
                <a:ea typeface="+mj-ea"/>
                <a:cs typeface="+mj-cs"/>
              </a:rPr>
              <a:t> </a:t>
            </a:r>
            <a:r>
              <a:rPr kumimoji="0" lang="en-US" sz="4800" b="0" i="0" u="none" strike="noStrike" kern="1200" cap="none" spc="-5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w Cen MT" panose="020F0302020204030204"/>
                <a:ea typeface="+mj-ea"/>
                <a:cs typeface="+mj-cs"/>
              </a:rPr>
              <a:t>priorizado</a:t>
            </a:r>
            <a:r>
              <a:rPr kumimoji="0" lang="en-US" sz="4800" b="0" i="0" u="none" strike="noStrike" kern="1200" cap="none" spc="-5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w Cen MT" panose="020F0302020204030204"/>
                <a:ea typeface="+mj-ea"/>
                <a:cs typeface="+mj-cs"/>
              </a:rPr>
              <a:t> -  </a:t>
            </a:r>
            <a:r>
              <a:rPr kumimoji="0" lang="en-US" sz="4800" b="0" i="0" u="none" strike="noStrike" kern="1200" cap="none" spc="-5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w Cen MT" panose="020F0302020204030204"/>
                <a:ea typeface="+mj-ea"/>
                <a:cs typeface="+mj-cs"/>
              </a:rPr>
              <a:t>hoja</a:t>
            </a:r>
            <a:r>
              <a:rPr kumimoji="0" lang="en-US" sz="4800" b="0" i="0" u="none" strike="noStrike" kern="1200" cap="none" spc="-5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w Cen MT" panose="020F0302020204030204"/>
                <a:ea typeface="+mj-ea"/>
                <a:cs typeface="+mj-cs"/>
              </a:rPr>
              <a:t> 2</a:t>
            </a:r>
          </a:p>
        </p:txBody>
      </p:sp>
      <p:graphicFrame>
        <p:nvGraphicFramePr>
          <p:cNvPr id="3" name="Tabla 2">
            <a:extLst>
              <a:ext uri="{FF2B5EF4-FFF2-40B4-BE49-F238E27FC236}">
                <a16:creationId xmlns:a16="http://schemas.microsoft.com/office/drawing/2014/main" id="{677F5C6A-26AA-4780-896A-489A624B1B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2695056"/>
              </p:ext>
            </p:extLst>
          </p:nvPr>
        </p:nvGraphicFramePr>
        <p:xfrm>
          <a:off x="633999" y="1184855"/>
          <a:ext cx="10686532" cy="3337950"/>
        </p:xfrm>
        <a:graphic>
          <a:graphicData uri="http://schemas.openxmlformats.org/drawingml/2006/table">
            <a:tbl>
              <a:tblPr firstRow="1" bandRow="1"/>
              <a:tblGrid>
                <a:gridCol w="656005">
                  <a:extLst>
                    <a:ext uri="{9D8B030D-6E8A-4147-A177-3AD203B41FA5}">
                      <a16:colId xmlns:a16="http://schemas.microsoft.com/office/drawing/2014/main" val="2243464074"/>
                    </a:ext>
                  </a:extLst>
                </a:gridCol>
                <a:gridCol w="1582117">
                  <a:extLst>
                    <a:ext uri="{9D8B030D-6E8A-4147-A177-3AD203B41FA5}">
                      <a16:colId xmlns:a16="http://schemas.microsoft.com/office/drawing/2014/main" val="1395864382"/>
                    </a:ext>
                  </a:extLst>
                </a:gridCol>
                <a:gridCol w="952310">
                  <a:extLst>
                    <a:ext uri="{9D8B030D-6E8A-4147-A177-3AD203B41FA5}">
                      <a16:colId xmlns:a16="http://schemas.microsoft.com/office/drawing/2014/main" val="4004740774"/>
                    </a:ext>
                  </a:extLst>
                </a:gridCol>
                <a:gridCol w="3169447">
                  <a:extLst>
                    <a:ext uri="{9D8B030D-6E8A-4147-A177-3AD203B41FA5}">
                      <a16:colId xmlns:a16="http://schemas.microsoft.com/office/drawing/2014/main" val="1636973142"/>
                    </a:ext>
                  </a:extLst>
                </a:gridCol>
                <a:gridCol w="1341441">
                  <a:extLst>
                    <a:ext uri="{9D8B030D-6E8A-4147-A177-3AD203B41FA5}">
                      <a16:colId xmlns:a16="http://schemas.microsoft.com/office/drawing/2014/main" val="3001291713"/>
                    </a:ext>
                  </a:extLst>
                </a:gridCol>
                <a:gridCol w="893688">
                  <a:extLst>
                    <a:ext uri="{9D8B030D-6E8A-4147-A177-3AD203B41FA5}">
                      <a16:colId xmlns:a16="http://schemas.microsoft.com/office/drawing/2014/main" val="1342750074"/>
                    </a:ext>
                  </a:extLst>
                </a:gridCol>
                <a:gridCol w="2091524">
                  <a:extLst>
                    <a:ext uri="{9D8B030D-6E8A-4147-A177-3AD203B41FA5}">
                      <a16:colId xmlns:a16="http://schemas.microsoft.com/office/drawing/2014/main" val="308371014"/>
                    </a:ext>
                  </a:extLst>
                </a:gridCol>
              </a:tblGrid>
              <a:tr h="3531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200" dirty="0">
                          <a:effectLst/>
                        </a:rPr>
                        <a:t>Áre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75929"/>
                      </a:solidFill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200" dirty="0">
                          <a:effectLst/>
                        </a:rPr>
                        <a:t>Eje Temático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200" dirty="0">
                          <a:effectLst/>
                        </a:rPr>
                        <a:t>Competenci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200" dirty="0">
                          <a:effectLst/>
                        </a:rPr>
                        <a:t>Tem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200">
                          <a:effectLst/>
                        </a:rPr>
                        <a:t>Tipo de Capacitac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200">
                          <a:effectLst/>
                        </a:rPr>
                        <a:t>Program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200" dirty="0">
                          <a:effectLst/>
                        </a:rPr>
                        <a:t>Recursos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E75929"/>
                      </a:solidFill>
                      <a:prstDash val="solid"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7393667"/>
                  </a:ext>
                </a:extLst>
              </a:tr>
              <a:tr h="3531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De apoy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75929"/>
                      </a:solidFill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Creación de valor públic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Saber -  Hace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 b="1" dirty="0">
                          <a:effectLst/>
                        </a:rPr>
                        <a:t>Gobierno en líne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 dirty="0">
                          <a:effectLst/>
                        </a:rPr>
                        <a:t>Curs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 dirty="0">
                          <a:effectLst/>
                        </a:rPr>
                        <a:t>Capacitac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 dirty="0">
                          <a:effectLst/>
                        </a:rPr>
                        <a:t>Gestión interinstitucion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E75929"/>
                      </a:solidFill>
                      <a:prstDash val="solid"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4605559"/>
                  </a:ext>
                </a:extLst>
              </a:tr>
              <a:tr h="67815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De apoy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75929"/>
                      </a:solidFill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 dirty="0">
                          <a:effectLst/>
                        </a:rPr>
                        <a:t>Creación de valor públic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Saber -  Hace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 b="1">
                          <a:effectLst/>
                        </a:rPr>
                        <a:t>Administración de los riesgos de gestión, corrupción y seguridad digital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Curs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Capacitac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Presupuesto de invers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E75929"/>
                      </a:solidFill>
                      <a:prstDash val="solid"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8464841"/>
                  </a:ext>
                </a:extLst>
              </a:tr>
              <a:tr h="4521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De apoy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75929"/>
                      </a:solidFill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Creación de valor públic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Saber -  Hace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 b="1">
                          <a:effectLst/>
                        </a:rPr>
                        <a:t>Diseño de Procesos en el marco de MIPG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Curs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Capacitac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Presupuesto de inversión o Gestión Interinstitucion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E75929"/>
                      </a:solidFill>
                      <a:prstDash val="solid"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8087442"/>
                  </a:ext>
                </a:extLst>
              </a:tr>
              <a:tr h="3531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De apoy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75929"/>
                      </a:solidFill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Creación de valor públic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Saber -  Hace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 b="1">
                          <a:effectLst/>
                        </a:rPr>
                        <a:t>Auditorías en sistemas de Gestión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endParaRPr lang="es-ES" sz="1200" dirty="0">
                        <a:effectLst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Capacitac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Presupuesto de invers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E75929"/>
                      </a:solidFill>
                      <a:prstDash val="solid"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3698284"/>
                  </a:ext>
                </a:extLst>
              </a:tr>
              <a:tr h="3531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De apoy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75929"/>
                      </a:solidFill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Creación de valor públic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Saber -  Hace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 b="1">
                          <a:effectLst/>
                        </a:rPr>
                        <a:t>Redacción de texto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Curs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Capacitación</a:t>
                      </a:r>
                      <a:endParaRPr lang="es-ES" sz="1200" dirty="0">
                        <a:effectLst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Gestión interinstitucion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E75929"/>
                      </a:solidFill>
                      <a:prstDash val="solid"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39877225"/>
                  </a:ext>
                </a:extLst>
              </a:tr>
              <a:tr h="3531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De apoy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75929"/>
                      </a:solidFill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Creación de valor públic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Saber - Hace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 b="1">
                          <a:effectLst/>
                        </a:rPr>
                        <a:t>Herramientas ofimática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Curs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Capacitac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Gestión interinstitucion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E75929"/>
                      </a:solidFill>
                      <a:prstDash val="solid"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7987665"/>
                  </a:ext>
                </a:extLst>
              </a:tr>
              <a:tr h="3531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De apoy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75929"/>
                      </a:solidFill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Creación de valor públic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Saber - Hace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 b="1">
                          <a:effectLst/>
                        </a:rPr>
                        <a:t>Aplicativos de INVIA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Talle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Entrenamient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 dirty="0">
                          <a:effectLst/>
                        </a:rPr>
                        <a:t>Escuela Corporativ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E75929"/>
                      </a:solidFill>
                      <a:prstDash val="solid"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55604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962982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7218218" y="2064473"/>
            <a:ext cx="4308763" cy="2387600"/>
          </a:xfrm>
        </p:spPr>
        <p:txBody>
          <a:bodyPr/>
          <a:lstStyle/>
          <a:p>
            <a:r>
              <a:rPr lang="es-CO" sz="3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AGNOSTICO DE NECESIDADES DE APRENDIZAJE ORGANIZACIONAL</a:t>
            </a:r>
          </a:p>
        </p:txBody>
      </p:sp>
    </p:spTree>
    <p:extLst>
      <p:ext uri="{BB962C8B-B14F-4D97-AF65-F5344CB8AC3E}">
        <p14:creationId xmlns:p14="http://schemas.microsoft.com/office/powerpoint/2010/main" val="117828223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>
            <a:extLst>
              <a:ext uri="{FF2B5EF4-FFF2-40B4-BE49-F238E27FC236}">
                <a16:creationId xmlns:a16="http://schemas.microsoft.com/office/drawing/2014/main" id="{426391F6-B16E-4686-A17B-43288B50BC9B}"/>
              </a:ext>
            </a:extLst>
          </p:cNvPr>
          <p:cNvSpPr txBox="1">
            <a:spLocks/>
          </p:cNvSpPr>
          <p:nvPr/>
        </p:nvSpPr>
        <p:spPr>
          <a:xfrm>
            <a:off x="941992" y="4300355"/>
            <a:ext cx="9206559" cy="154117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400" i="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-5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w Cen MT" panose="020F0302020204030204"/>
                <a:ea typeface="+mj-ea"/>
                <a:cs typeface="+mj-cs"/>
              </a:rPr>
              <a:t>Cronograma</a:t>
            </a:r>
            <a:r>
              <a:rPr kumimoji="0" lang="en-US" sz="4800" b="0" i="0" u="none" strike="noStrike" kern="1200" cap="none" spc="-5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w Cen MT" panose="020F0302020204030204"/>
                <a:ea typeface="+mj-ea"/>
                <a:cs typeface="+mj-cs"/>
              </a:rPr>
              <a:t> </a:t>
            </a:r>
            <a:r>
              <a:rPr kumimoji="0" lang="en-US" sz="4800" b="0" i="0" u="none" strike="noStrike" kern="1200" cap="none" spc="-5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w Cen MT" panose="020F0302020204030204"/>
                <a:ea typeface="+mj-ea"/>
                <a:cs typeface="+mj-cs"/>
              </a:rPr>
              <a:t>priorizado</a:t>
            </a:r>
            <a:r>
              <a:rPr kumimoji="0" lang="en-US" sz="4800" b="0" i="0" u="none" strike="noStrike" kern="1200" cap="none" spc="-5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w Cen MT" panose="020F0302020204030204"/>
                <a:ea typeface="+mj-ea"/>
                <a:cs typeface="+mj-cs"/>
              </a:rPr>
              <a:t> – </a:t>
            </a:r>
            <a:r>
              <a:rPr kumimoji="0" lang="en-US" sz="4800" b="0" i="0" u="none" strike="noStrike" kern="1200" cap="none" spc="-5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w Cen MT" panose="020F0302020204030204"/>
                <a:ea typeface="+mj-ea"/>
                <a:cs typeface="+mj-cs"/>
              </a:rPr>
              <a:t>hoja</a:t>
            </a:r>
            <a:r>
              <a:rPr kumimoji="0" lang="en-US" sz="4800" b="0" i="0" u="none" strike="noStrike" kern="1200" cap="none" spc="-5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w Cen MT" panose="020F0302020204030204"/>
                <a:ea typeface="+mj-ea"/>
                <a:cs typeface="+mj-cs"/>
              </a:rPr>
              <a:t> 3</a:t>
            </a:r>
          </a:p>
        </p:txBody>
      </p:sp>
      <p:graphicFrame>
        <p:nvGraphicFramePr>
          <p:cNvPr id="5" name="Tabla 4">
            <a:extLst>
              <a:ext uri="{FF2B5EF4-FFF2-40B4-BE49-F238E27FC236}">
                <a16:creationId xmlns:a16="http://schemas.microsoft.com/office/drawing/2014/main" id="{BF7E0487-5FBD-4B9B-B7DC-8B35E56324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07666"/>
              </p:ext>
            </p:extLst>
          </p:nvPr>
        </p:nvGraphicFramePr>
        <p:xfrm>
          <a:off x="772732" y="992790"/>
          <a:ext cx="10861256" cy="3487885"/>
        </p:xfrm>
        <a:graphic>
          <a:graphicData uri="http://schemas.openxmlformats.org/drawingml/2006/table">
            <a:tbl>
              <a:tblPr firstRow="1" firstCol="1" bandRow="1"/>
              <a:tblGrid>
                <a:gridCol w="687556">
                  <a:extLst>
                    <a:ext uri="{9D8B030D-6E8A-4147-A177-3AD203B41FA5}">
                      <a16:colId xmlns:a16="http://schemas.microsoft.com/office/drawing/2014/main" val="2006573137"/>
                    </a:ext>
                  </a:extLst>
                </a:gridCol>
                <a:gridCol w="1646843">
                  <a:extLst>
                    <a:ext uri="{9D8B030D-6E8A-4147-A177-3AD203B41FA5}">
                      <a16:colId xmlns:a16="http://schemas.microsoft.com/office/drawing/2014/main" val="3403009069"/>
                    </a:ext>
                  </a:extLst>
                </a:gridCol>
                <a:gridCol w="991271">
                  <a:extLst>
                    <a:ext uri="{9D8B030D-6E8A-4147-A177-3AD203B41FA5}">
                      <a16:colId xmlns:a16="http://schemas.microsoft.com/office/drawing/2014/main" val="1624894755"/>
                    </a:ext>
                  </a:extLst>
                </a:gridCol>
                <a:gridCol w="3273273">
                  <a:extLst>
                    <a:ext uri="{9D8B030D-6E8A-4147-A177-3AD203B41FA5}">
                      <a16:colId xmlns:a16="http://schemas.microsoft.com/office/drawing/2014/main" val="1087529984"/>
                    </a:ext>
                  </a:extLst>
                </a:gridCol>
                <a:gridCol w="1396320">
                  <a:extLst>
                    <a:ext uri="{9D8B030D-6E8A-4147-A177-3AD203B41FA5}">
                      <a16:colId xmlns:a16="http://schemas.microsoft.com/office/drawing/2014/main" val="2203117694"/>
                    </a:ext>
                  </a:extLst>
                </a:gridCol>
                <a:gridCol w="995479">
                  <a:extLst>
                    <a:ext uri="{9D8B030D-6E8A-4147-A177-3AD203B41FA5}">
                      <a16:colId xmlns:a16="http://schemas.microsoft.com/office/drawing/2014/main" val="3271717221"/>
                    </a:ext>
                  </a:extLst>
                </a:gridCol>
                <a:gridCol w="1870514">
                  <a:extLst>
                    <a:ext uri="{9D8B030D-6E8A-4147-A177-3AD203B41FA5}">
                      <a16:colId xmlns:a16="http://schemas.microsoft.com/office/drawing/2014/main" val="3399310651"/>
                    </a:ext>
                  </a:extLst>
                </a:gridCol>
              </a:tblGrid>
              <a:tr h="3439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200" b="0">
                          <a:effectLst/>
                        </a:rPr>
                        <a:t>Áre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E75929"/>
                      </a:solidFill>
                    </a:lnT>
                    <a:lnB w="12700" cmpd="sng">
                      <a:solidFill>
                        <a:srgbClr val="E7592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200" b="0">
                          <a:effectLst/>
                        </a:rPr>
                        <a:t>Eje Temático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E75929"/>
                      </a:solidFill>
                    </a:lnT>
                    <a:lnB w="12700" cmpd="sng">
                      <a:solidFill>
                        <a:srgbClr val="E7592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200" b="0">
                          <a:effectLst/>
                        </a:rPr>
                        <a:t>Competenci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E75929"/>
                      </a:solidFill>
                    </a:lnT>
                    <a:lnB w="12700" cmpd="sng">
                      <a:solidFill>
                        <a:srgbClr val="E7592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200" b="0">
                          <a:effectLst/>
                        </a:rPr>
                        <a:t>Tem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E75929"/>
                      </a:solidFill>
                    </a:lnT>
                    <a:lnB w="12700" cmpd="sng">
                      <a:solidFill>
                        <a:srgbClr val="E7592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Tipo de Capacitac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E75929"/>
                      </a:solidFill>
                    </a:lnT>
                    <a:lnB w="12700" cmpd="sng">
                      <a:solidFill>
                        <a:srgbClr val="E7592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Program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E75929"/>
                      </a:solidFill>
                    </a:lnT>
                    <a:lnB w="12700" cmpd="sng">
                      <a:solidFill>
                        <a:srgbClr val="E7592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Recursos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E75929"/>
                      </a:solidFill>
                    </a:lnT>
                    <a:lnB w="12700" cmpd="sng">
                      <a:solidFill>
                        <a:srgbClr val="E7592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783213"/>
                  </a:ext>
                </a:extLst>
              </a:tr>
              <a:tr h="3439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De apoy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E75929"/>
                      </a:solidFill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Creación de valor públic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E75929"/>
                      </a:solidFill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Saber -  Hace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E75929"/>
                      </a:solidFill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 b="1">
                          <a:effectLst/>
                        </a:rPr>
                        <a:t>Gestión Documental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E75929"/>
                      </a:solidFill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Seminari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E75929"/>
                      </a:solidFill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Capacitac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E75929"/>
                      </a:solidFill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Presupuesto de invers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E75929"/>
                      </a:solidFill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0757029"/>
                  </a:ext>
                </a:extLst>
              </a:tr>
              <a:tr h="4300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De apoy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Creación de valor públic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Saber - Se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 b="1">
                          <a:effectLst/>
                        </a:rPr>
                        <a:t>Transparencia- Código de Integridad - Étic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Talle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Entrenamient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Escuela Corporativao Gestión Interinstitucion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7052934"/>
                  </a:ext>
                </a:extLst>
              </a:tr>
              <a:tr h="2150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De apoy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Gobernanza para la paz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Se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 b="1">
                          <a:effectLst/>
                        </a:rPr>
                        <a:t>Equidad y Gener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Taller o curs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Capacitación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Gestión interinstitucion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2698468"/>
                  </a:ext>
                </a:extLst>
              </a:tr>
              <a:tr h="2150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De apoy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Gobernanza para la paz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Se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 b="1">
                          <a:effectLst/>
                        </a:rPr>
                        <a:t>Derechos Humano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Taller o curs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Capacitación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Gestión interinstitucion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4379333"/>
                  </a:ext>
                </a:extLst>
              </a:tr>
              <a:tr h="50522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De apoy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Creación de valor públic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Saber - Se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 b="1">
                          <a:effectLst/>
                        </a:rPr>
                        <a:t>Servicio al ciudadan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Curso o seminari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Capacitación o Entrenamient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Gestión interinstitucion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9407119"/>
                  </a:ext>
                </a:extLst>
              </a:tr>
              <a:tr h="86000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De apoy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Creación de valor públic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Se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 b="1">
                          <a:effectLst/>
                        </a:rPr>
                        <a:t>Habilidades blandas (Liderazgo - Trabajo en Equipo – Comunicación asertiva - Relaciones Interpersonales - Resolución de conflictos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Taller o curs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Capacitac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Presupuesto de inversión o Gestión Interinstitucion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93313854"/>
                  </a:ext>
                </a:extLst>
              </a:tr>
              <a:tr h="3439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De apoy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solidFill>
                        <a:srgbClr val="E7592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Gestión de conocimient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solidFill>
                        <a:srgbClr val="E7592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Saber -  Hace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solidFill>
                        <a:srgbClr val="E7592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 b="1">
                          <a:effectLst/>
                        </a:rPr>
                        <a:t>Negociación Colectiv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solidFill>
                        <a:srgbClr val="E7592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Seminari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solidFill>
                        <a:srgbClr val="E7592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>
                          <a:effectLst/>
                        </a:rPr>
                        <a:t>Capacitac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solidFill>
                        <a:srgbClr val="E7592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200" dirty="0">
                          <a:effectLst/>
                        </a:rPr>
                        <a:t>Presupuesto de inversión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solidFill>
                        <a:srgbClr val="E7592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18081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765589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06AEB5C-1A2E-4ABE-98ED-DEF5E35FE1A8}"/>
              </a:ext>
            </a:extLst>
          </p:cNvPr>
          <p:cNvSpPr txBox="1">
            <a:spLocks/>
          </p:cNvSpPr>
          <p:nvPr/>
        </p:nvSpPr>
        <p:spPr>
          <a:xfrm>
            <a:off x="1225328" y="4210203"/>
            <a:ext cx="8910345" cy="154117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400" i="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-5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w Cen MT" panose="020F0302020204030204"/>
                <a:ea typeface="+mj-ea"/>
                <a:cs typeface="+mj-cs"/>
              </a:rPr>
              <a:t>Cronograma</a:t>
            </a:r>
            <a:r>
              <a:rPr kumimoji="0" lang="en-US" sz="4800" b="0" i="0" u="none" strike="noStrike" kern="1200" cap="none" spc="-5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w Cen MT" panose="020F0302020204030204"/>
                <a:ea typeface="+mj-ea"/>
                <a:cs typeface="+mj-cs"/>
              </a:rPr>
              <a:t> </a:t>
            </a:r>
            <a:r>
              <a:rPr kumimoji="0" lang="en-US" sz="4800" b="0" i="0" u="none" strike="noStrike" kern="1200" cap="none" spc="-5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w Cen MT" panose="020F0302020204030204"/>
                <a:ea typeface="+mj-ea"/>
                <a:cs typeface="+mj-cs"/>
              </a:rPr>
              <a:t>priorizado</a:t>
            </a:r>
            <a:r>
              <a:rPr kumimoji="0" lang="en-US" sz="4800" b="0" i="0" u="none" strike="noStrike" kern="1200" cap="none" spc="-5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w Cen MT" panose="020F0302020204030204"/>
                <a:ea typeface="+mj-ea"/>
                <a:cs typeface="+mj-cs"/>
              </a:rPr>
              <a:t> – </a:t>
            </a:r>
            <a:r>
              <a:rPr kumimoji="0" lang="en-US" sz="4800" b="0" i="0" u="none" strike="noStrike" kern="1200" cap="none" spc="-5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w Cen MT" panose="020F0302020204030204"/>
                <a:ea typeface="+mj-ea"/>
                <a:cs typeface="+mj-cs"/>
              </a:rPr>
              <a:t>hoja</a:t>
            </a:r>
            <a:r>
              <a:rPr kumimoji="0" lang="en-US" sz="4800" b="0" i="0" u="none" strike="noStrike" kern="1200" cap="none" spc="-5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w Cen MT" panose="020F0302020204030204"/>
                <a:ea typeface="+mj-ea"/>
                <a:cs typeface="+mj-cs"/>
              </a:rPr>
              <a:t> 4</a:t>
            </a:r>
          </a:p>
        </p:txBody>
      </p:sp>
      <p:graphicFrame>
        <p:nvGraphicFramePr>
          <p:cNvPr id="3" name="Tabla 2">
            <a:extLst>
              <a:ext uri="{FF2B5EF4-FFF2-40B4-BE49-F238E27FC236}">
                <a16:creationId xmlns:a16="http://schemas.microsoft.com/office/drawing/2014/main" id="{7124B730-BC4A-49E0-9CE1-A905E89AB87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3063096"/>
              </p:ext>
            </p:extLst>
          </p:nvPr>
        </p:nvGraphicFramePr>
        <p:xfrm>
          <a:off x="746974" y="962378"/>
          <a:ext cx="10799251" cy="3331920"/>
        </p:xfrm>
        <a:graphic>
          <a:graphicData uri="http://schemas.openxmlformats.org/drawingml/2006/table">
            <a:tbl>
              <a:tblPr firstRow="1" firstCol="1" bandRow="1"/>
              <a:tblGrid>
                <a:gridCol w="695895">
                  <a:extLst>
                    <a:ext uri="{9D8B030D-6E8A-4147-A177-3AD203B41FA5}">
                      <a16:colId xmlns:a16="http://schemas.microsoft.com/office/drawing/2014/main" val="3209442788"/>
                    </a:ext>
                  </a:extLst>
                </a:gridCol>
                <a:gridCol w="1984588">
                  <a:extLst>
                    <a:ext uri="{9D8B030D-6E8A-4147-A177-3AD203B41FA5}">
                      <a16:colId xmlns:a16="http://schemas.microsoft.com/office/drawing/2014/main" val="1677117973"/>
                    </a:ext>
                  </a:extLst>
                </a:gridCol>
                <a:gridCol w="1363672">
                  <a:extLst>
                    <a:ext uri="{9D8B030D-6E8A-4147-A177-3AD203B41FA5}">
                      <a16:colId xmlns:a16="http://schemas.microsoft.com/office/drawing/2014/main" val="1592985422"/>
                    </a:ext>
                  </a:extLst>
                </a:gridCol>
                <a:gridCol w="1820572">
                  <a:extLst>
                    <a:ext uri="{9D8B030D-6E8A-4147-A177-3AD203B41FA5}">
                      <a16:colId xmlns:a16="http://schemas.microsoft.com/office/drawing/2014/main" val="2845797400"/>
                    </a:ext>
                  </a:extLst>
                </a:gridCol>
                <a:gridCol w="1398818">
                  <a:extLst>
                    <a:ext uri="{9D8B030D-6E8A-4147-A177-3AD203B41FA5}">
                      <a16:colId xmlns:a16="http://schemas.microsoft.com/office/drawing/2014/main" val="876733213"/>
                    </a:ext>
                  </a:extLst>
                </a:gridCol>
                <a:gridCol w="1340241">
                  <a:extLst>
                    <a:ext uri="{9D8B030D-6E8A-4147-A177-3AD203B41FA5}">
                      <a16:colId xmlns:a16="http://schemas.microsoft.com/office/drawing/2014/main" val="290994469"/>
                    </a:ext>
                  </a:extLst>
                </a:gridCol>
                <a:gridCol w="2195465">
                  <a:extLst>
                    <a:ext uri="{9D8B030D-6E8A-4147-A177-3AD203B41FA5}">
                      <a16:colId xmlns:a16="http://schemas.microsoft.com/office/drawing/2014/main" val="659836614"/>
                    </a:ext>
                  </a:extLst>
                </a:gridCol>
              </a:tblGrid>
              <a:tr h="5045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700" dirty="0">
                          <a:effectLst/>
                        </a:rPr>
                        <a:t>Áre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75929"/>
                      </a:solidFill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700" dirty="0">
                          <a:effectLst/>
                        </a:rPr>
                        <a:t>Eje Temático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700" dirty="0">
                          <a:effectLst/>
                        </a:rPr>
                        <a:t>Competenci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700" dirty="0">
                          <a:effectLst/>
                        </a:rPr>
                        <a:t>Tem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700" dirty="0">
                          <a:effectLst/>
                        </a:rPr>
                        <a:t>Tipo de Capacitac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700" dirty="0">
                          <a:effectLst/>
                        </a:rPr>
                        <a:t>Program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700" dirty="0">
                          <a:effectLst/>
                        </a:rPr>
                        <a:t>Recursos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E75929"/>
                      </a:solidFill>
                      <a:prstDash val="solid"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592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8339467"/>
                  </a:ext>
                </a:extLst>
              </a:tr>
              <a:tr h="5045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700">
                          <a:effectLst/>
                        </a:rPr>
                        <a:t>De apoy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75929"/>
                      </a:solidFill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700">
                          <a:effectLst/>
                        </a:rPr>
                        <a:t>Gobernanza para la paz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700">
                          <a:effectLst/>
                        </a:rPr>
                        <a:t>Saber -  Hace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700" b="1" dirty="0">
                          <a:effectLst/>
                        </a:rPr>
                        <a:t>Comisión de person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700">
                          <a:effectLst/>
                        </a:rPr>
                        <a:t>Curs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700">
                          <a:effectLst/>
                        </a:rPr>
                        <a:t>Capacitac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700">
                          <a:effectLst/>
                        </a:rPr>
                        <a:t>Gestión interinstitucion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E75929"/>
                      </a:solidFill>
                      <a:prstDash val="solid"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4212681"/>
                  </a:ext>
                </a:extLst>
              </a:tr>
              <a:tr h="7411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700">
                          <a:effectLst/>
                        </a:rPr>
                        <a:t>De apoy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75929"/>
                      </a:solidFill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700">
                          <a:effectLst/>
                        </a:rPr>
                        <a:t>Gestión de conocimient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700" dirty="0">
                          <a:effectLst/>
                        </a:rPr>
                        <a:t>Saber - Se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700" b="1" dirty="0">
                          <a:effectLst/>
                        </a:rPr>
                        <a:t>Seguridad y salud en el trabaj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700">
                          <a:effectLst/>
                        </a:rPr>
                        <a:t>Taller o curs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700">
                          <a:effectLst/>
                        </a:rPr>
                        <a:t>Entrenamient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700">
                          <a:effectLst/>
                        </a:rPr>
                        <a:t>Escuela Corporativa o Gestión Interinstitucion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E75929"/>
                      </a:solidFill>
                      <a:prstDash val="solid"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7304626"/>
                  </a:ext>
                </a:extLst>
              </a:tr>
              <a:tr h="5045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700">
                          <a:effectLst/>
                        </a:rPr>
                        <a:t>De apoy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75929"/>
                      </a:solidFill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700">
                          <a:effectLst/>
                        </a:rPr>
                        <a:t>Gestión de conocimient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700">
                          <a:effectLst/>
                        </a:rPr>
                        <a:t>Saber -  Hace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700" b="1" dirty="0">
                          <a:effectLst/>
                        </a:rPr>
                        <a:t>Trabajo en altura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700">
                          <a:effectLst/>
                        </a:rPr>
                        <a:t>Curs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700">
                          <a:effectLst/>
                        </a:rPr>
                        <a:t>Capacitac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700">
                          <a:effectLst/>
                        </a:rPr>
                        <a:t>Presupuesto de invers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E75929"/>
                      </a:solidFill>
                      <a:prstDash val="solid"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2167022"/>
                  </a:ext>
                </a:extLst>
              </a:tr>
              <a:tr h="5045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700" dirty="0">
                          <a:effectLst/>
                        </a:rPr>
                        <a:t>De apoy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75929"/>
                      </a:solidFill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700">
                          <a:effectLst/>
                        </a:rPr>
                        <a:t>Gestión de conocimient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700">
                          <a:effectLst/>
                        </a:rPr>
                        <a:t>Saber - Hace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700" b="1" dirty="0">
                          <a:effectLst/>
                        </a:rPr>
                        <a:t>Inglé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700">
                          <a:effectLst/>
                        </a:rPr>
                        <a:t>Curs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700">
                          <a:effectLst/>
                        </a:rPr>
                        <a:t>Capacitac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700">
                          <a:effectLst/>
                        </a:rPr>
                        <a:t>Presupuesto de inversión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E75929"/>
                      </a:solidFill>
                      <a:prstDash val="solid"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7450255"/>
                  </a:ext>
                </a:extLst>
              </a:tr>
              <a:tr h="47874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700">
                          <a:effectLst/>
                        </a:rPr>
                        <a:t>De apoy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75929"/>
                      </a:solidFill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700">
                          <a:effectLst/>
                        </a:rPr>
                        <a:t>Gestión de conocimient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700">
                          <a:effectLst/>
                        </a:rPr>
                        <a:t>Saber - Hace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700" b="1" dirty="0">
                          <a:effectLst/>
                        </a:rPr>
                        <a:t>Formación de formadore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700">
                          <a:effectLst/>
                        </a:rPr>
                        <a:t>curs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700">
                          <a:effectLst/>
                        </a:rPr>
                        <a:t>Capacitac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F0502020204030204"/>
                        </a:defRPr>
                      </a:lvl9pPr>
                    </a:lstStyle>
                    <a:p>
                      <a:r>
                        <a:rPr lang="es-ES" sz="1700" dirty="0">
                          <a:effectLst/>
                        </a:rPr>
                        <a:t>Presupuesto de invers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E75929"/>
                      </a:solidFill>
                      <a:prstDash val="solid"/>
                    </a:lnR>
                    <a:lnT w="12700" cap="flat" cmpd="sng" algn="ctr">
                      <a:solidFill>
                        <a:srgbClr val="E75929"/>
                      </a:solidFill>
                      <a:prstDash val="solid"/>
                    </a:lnT>
                    <a:lnB w="12700" cap="flat" cmpd="sng" algn="ctr">
                      <a:solidFill>
                        <a:srgbClr val="E75929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09703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3862802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932720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4806" y="258653"/>
            <a:ext cx="10382388" cy="5877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09908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1">
            <a:extLst>
              <a:ext uri="{FF2B5EF4-FFF2-40B4-BE49-F238E27FC236}">
                <a16:creationId xmlns:a16="http://schemas.microsoft.com/office/drawing/2014/main" id="{5B7EB95C-E908-4968-B13A-787B81664B49}"/>
              </a:ext>
            </a:extLst>
          </p:cNvPr>
          <p:cNvSpPr txBox="1">
            <a:spLocks/>
          </p:cNvSpPr>
          <p:nvPr/>
        </p:nvSpPr>
        <p:spPr>
          <a:xfrm>
            <a:off x="1097279" y="286603"/>
            <a:ext cx="10554393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400" i="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5400" b="0" i="0" u="none" strike="noStrike" kern="1200" cap="none" spc="-5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Tw Cen MT" panose="020F0302020204030204"/>
                <a:ea typeface="+mj-ea"/>
                <a:cs typeface="+mj-cs"/>
              </a:rPr>
              <a:t>Herramientas (Guía de implementación DAFP)</a:t>
            </a:r>
          </a:p>
        </p:txBody>
      </p:sp>
      <p:graphicFrame>
        <p:nvGraphicFramePr>
          <p:cNvPr id="9" name="Diagrama 8">
            <a:extLst>
              <a:ext uri="{FF2B5EF4-FFF2-40B4-BE49-F238E27FC236}">
                <a16:creationId xmlns:a16="http://schemas.microsoft.com/office/drawing/2014/main" id="{36C7B37B-9A52-4713-BD14-85C9FFF912E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54220028"/>
              </p:ext>
            </p:extLst>
          </p:nvPr>
        </p:nvGraphicFramePr>
        <p:xfrm>
          <a:off x="320586" y="1365270"/>
          <a:ext cx="11596776" cy="4979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6010927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>
            <a:extLst>
              <a:ext uri="{FF2B5EF4-FFF2-40B4-BE49-F238E27FC236}">
                <a16:creationId xmlns:a16="http://schemas.microsoft.com/office/drawing/2014/main" id="{6694FC42-B5AB-48E5-8C8A-D4495DBCE227}"/>
              </a:ext>
            </a:extLst>
          </p:cNvPr>
          <p:cNvSpPr txBox="1">
            <a:spLocks/>
          </p:cNvSpPr>
          <p:nvPr/>
        </p:nvSpPr>
        <p:spPr>
          <a:xfrm>
            <a:off x="1187355" y="4029148"/>
            <a:ext cx="10551634" cy="137436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400" i="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-50" normalizeH="0" baseline="0" noProof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Tw Cen MT" panose="020F0302020204030204"/>
                <a:ea typeface="+mj-ea"/>
                <a:cs typeface="+mj-cs"/>
              </a:rPr>
              <a:t>Programas del Plan Institucional de Capacitación </a:t>
            </a:r>
            <a:endParaRPr kumimoji="0" lang="en-US" sz="4000" b="0" i="0" u="none" strike="noStrike" kern="1200" cap="none" spc="-5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Tw Cen MT" panose="020F0302020204030204"/>
              <a:ea typeface="+mj-ea"/>
              <a:cs typeface="+mj-cs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43F7D0F2-3FB2-4058-9A37-21853C0BDB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2840" y="582571"/>
            <a:ext cx="10168939" cy="4083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54150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CF9AC24-4334-4134-AFFE-F52E932EF536}"/>
              </a:ext>
            </a:extLst>
          </p:cNvPr>
          <p:cNvSpPr txBox="1">
            <a:spLocks/>
          </p:cNvSpPr>
          <p:nvPr/>
        </p:nvSpPr>
        <p:spPr>
          <a:xfrm>
            <a:off x="4974771" y="634946"/>
            <a:ext cx="6574972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400" i="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-5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Tw Cen MT" panose="020F0302020204030204"/>
                <a:ea typeface="+mj-ea"/>
                <a:cs typeface="+mj-cs"/>
              </a:rPr>
              <a:t>Resultados 1. </a:t>
            </a:r>
          </a:p>
        </p:txBody>
      </p:sp>
      <p:pic>
        <p:nvPicPr>
          <p:cNvPr id="3" name="Imagen 16" descr="Imagen que contiene espejo, tabla&#10;&#10;Descripción generada con confianza muy alta">
            <a:extLst>
              <a:ext uri="{FF2B5EF4-FFF2-40B4-BE49-F238E27FC236}">
                <a16:creationId xmlns:a16="http://schemas.microsoft.com/office/drawing/2014/main" id="{945ECC7D-F065-474C-91F2-4DAAEEC8E9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4000" y="1285398"/>
            <a:ext cx="3856114" cy="4023771"/>
          </a:xfrm>
          <a:prstGeom prst="rect">
            <a:avLst/>
          </a:prstGeom>
        </p:spPr>
      </p:pic>
      <p:cxnSp>
        <p:nvCxnSpPr>
          <p:cNvPr id="4" name="Straight Connector 26">
            <a:extLst>
              <a:ext uri="{FF2B5EF4-FFF2-40B4-BE49-F238E27FC236}">
                <a16:creationId xmlns:a16="http://schemas.microsoft.com/office/drawing/2014/main" id="{D7143990-FA50-4B23-AE6D-E17D22F526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5063482" y="2246569"/>
            <a:ext cx="5852160" cy="0"/>
          </a:xfrm>
          <a:prstGeom prst="line">
            <a:avLst/>
          </a:prstGeom>
          <a:noFill/>
          <a:ln w="12700" cap="flat" cmpd="sng" algn="ctr">
            <a:solidFill>
              <a:srgbClr val="000000">
                <a:lumMod val="75000"/>
                <a:lumOff val="25000"/>
              </a:srgbClr>
            </a:solidFill>
            <a:prstDash val="solid"/>
          </a:ln>
          <a:effectLst/>
        </p:spPr>
      </p:cxnSp>
      <p:graphicFrame>
        <p:nvGraphicFramePr>
          <p:cNvPr id="5" name="Diagrama 5">
            <a:extLst>
              <a:ext uri="{FF2B5EF4-FFF2-40B4-BE49-F238E27FC236}">
                <a16:creationId xmlns:a16="http://schemas.microsoft.com/office/drawing/2014/main" id="{E1B87038-AF8B-486E-93BE-F48DC8C1B7A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31781474"/>
              </p:ext>
            </p:extLst>
          </p:nvPr>
        </p:nvGraphicFramePr>
        <p:xfrm>
          <a:off x="4974769" y="2407436"/>
          <a:ext cx="6204093" cy="30660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7294084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1">
            <a:extLst>
              <a:ext uri="{FF2B5EF4-FFF2-40B4-BE49-F238E27FC236}">
                <a16:creationId xmlns:a16="http://schemas.microsoft.com/office/drawing/2014/main" id="{1A0E0AC9-FB44-4D6E-AE55-0EDE254DCC83}"/>
              </a:ext>
            </a:extLst>
          </p:cNvPr>
          <p:cNvSpPr txBox="1">
            <a:spLocks/>
          </p:cNvSpPr>
          <p:nvPr/>
        </p:nvSpPr>
        <p:spPr>
          <a:xfrm>
            <a:off x="1097280" y="-383098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400" i="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5400" b="0" i="0" u="none" strike="noStrike" kern="1200" cap="none" spc="-5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Tw Cen MT" panose="020F0302020204030204"/>
                <a:ea typeface="+mj-ea"/>
                <a:cs typeface="+mj-cs"/>
              </a:rPr>
              <a:t>Lineas de conocimiento consultadas</a:t>
            </a:r>
            <a:endParaRPr kumimoji="0" lang="es-ES" sz="5400" b="0" i="0" u="none" strike="noStrike" kern="1200" cap="none" spc="-5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Tw Cen MT" panose="020F0302020204030204"/>
              <a:ea typeface="+mj-ea"/>
              <a:cs typeface="+mj-cs"/>
            </a:endParaRPr>
          </a:p>
        </p:txBody>
      </p:sp>
      <p:graphicFrame>
        <p:nvGraphicFramePr>
          <p:cNvPr id="6" name="Marcador de contenido 2">
            <a:extLst>
              <a:ext uri="{FF2B5EF4-FFF2-40B4-BE49-F238E27FC236}">
                <a16:creationId xmlns:a16="http://schemas.microsoft.com/office/drawing/2014/main" id="{229BF9C0-8A8F-49D4-9552-4B9FB1922D4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66651385"/>
              </p:ext>
            </p:extLst>
          </p:nvPr>
        </p:nvGraphicFramePr>
        <p:xfrm>
          <a:off x="119303" y="1428814"/>
          <a:ext cx="11798060" cy="41455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3437186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A0E0AC9-FB44-4D6E-AE55-0EDE254DCC83}"/>
              </a:ext>
            </a:extLst>
          </p:cNvPr>
          <p:cNvSpPr txBox="1">
            <a:spLocks/>
          </p:cNvSpPr>
          <p:nvPr/>
        </p:nvSpPr>
        <p:spPr>
          <a:xfrm>
            <a:off x="1097280" y="-292952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400" i="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5400" b="0" i="0" u="none" strike="noStrike" kern="1200" cap="none" spc="-5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Tw Cen MT" panose="020F0302020204030204"/>
                <a:ea typeface="+mj-ea"/>
                <a:cs typeface="+mj-cs"/>
              </a:rPr>
              <a:t>Lineas de conocimiento consultadas</a:t>
            </a:r>
            <a:endParaRPr kumimoji="0" lang="es-ES" sz="5400" b="0" i="0" u="none" strike="noStrike" kern="1200" cap="none" spc="-5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Tw Cen MT" panose="020F0302020204030204"/>
              <a:ea typeface="+mj-ea"/>
              <a:cs typeface="+mj-cs"/>
            </a:endParaRPr>
          </a:p>
        </p:txBody>
      </p:sp>
      <p:graphicFrame>
        <p:nvGraphicFramePr>
          <p:cNvPr id="3" name="Marcador de contenido 2">
            <a:extLst>
              <a:ext uri="{FF2B5EF4-FFF2-40B4-BE49-F238E27FC236}">
                <a16:creationId xmlns:a16="http://schemas.microsoft.com/office/drawing/2014/main" id="{229BF9C0-8A8F-49D4-9552-4B9FB1922D4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66594598"/>
              </p:ext>
            </p:extLst>
          </p:nvPr>
        </p:nvGraphicFramePr>
        <p:xfrm>
          <a:off x="478737" y="1518960"/>
          <a:ext cx="11366739" cy="41886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1310356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9F30795-0D3A-4AD5-9CAD-515F5F062B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7242" y="0"/>
            <a:ext cx="3659246" cy="5885645"/>
          </a:xfrm>
        </p:spPr>
        <p:txBody>
          <a:bodyPr vert="horz" lIns="91440" tIns="45720" rIns="91440" bIns="45720" rtlCol="0" anchor="b">
            <a:normAutofit/>
          </a:bodyPr>
          <a:lstStyle/>
          <a:p>
            <a:pPr>
              <a:lnSpc>
                <a:spcPct val="90000"/>
              </a:lnSpc>
            </a:pPr>
            <a:r>
              <a:rPr lang="es-ES" dirty="0"/>
              <a:t>De las 28 lineas de conocimiento, se evidencia las de mayor puntaje en :</a:t>
            </a:r>
            <a:br>
              <a:rPr lang="es-ES" dirty="0"/>
            </a:br>
            <a:br>
              <a:rPr lang="es-ES" dirty="0"/>
            </a:br>
            <a:br>
              <a:rPr lang="es-ES" dirty="0"/>
            </a:br>
            <a:br>
              <a:rPr lang="es-ES" dirty="0"/>
            </a:br>
            <a:br>
              <a:rPr lang="es-ES" dirty="0"/>
            </a:br>
            <a:br>
              <a:rPr lang="es-ES" dirty="0"/>
            </a:br>
            <a:endParaRPr lang="es-ES" dirty="0"/>
          </a:p>
        </p:txBody>
      </p:sp>
      <p:pic>
        <p:nvPicPr>
          <p:cNvPr id="3" name="Imagen 4" descr="Imagen que contiene cd&#10;&#10;Descripción generada con confianza muy alta">
            <a:extLst>
              <a:ext uri="{FF2B5EF4-FFF2-40B4-BE49-F238E27FC236}">
                <a16:creationId xmlns:a16="http://schemas.microsoft.com/office/drawing/2014/main" id="{89ED8E77-A690-4179-9390-EB3F9EF018D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6866" r="17019"/>
          <a:stretch/>
        </p:blipFill>
        <p:spPr>
          <a:xfrm>
            <a:off x="4842455" y="10"/>
            <a:ext cx="6722771" cy="5872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45430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aBqouLVE.2phnNOznu8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heme/theme1.xml><?xml version="1.0" encoding="utf-8"?>
<a:theme xmlns:a="http://schemas.openxmlformats.org/drawingml/2006/main" name="2_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5_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989</TotalTime>
  <Words>1380</Words>
  <Application>Microsoft Office PowerPoint</Application>
  <PresentationFormat>Panorámica</PresentationFormat>
  <Paragraphs>435</Paragraphs>
  <Slides>22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6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2</vt:i4>
      </vt:variant>
    </vt:vector>
  </HeadingPairs>
  <TitlesOfParts>
    <vt:vector size="34" baseType="lpstr">
      <vt:lpstr>Arial</vt:lpstr>
      <vt:lpstr>Calibri</vt:lpstr>
      <vt:lpstr>Calibri Light</vt:lpstr>
      <vt:lpstr>Candara</vt:lpstr>
      <vt:lpstr>Tw Cen MT</vt:lpstr>
      <vt:lpstr>2_Diseño personalizado</vt:lpstr>
      <vt:lpstr>1_Diseño personalizado</vt:lpstr>
      <vt:lpstr>3_Diseño personalizado</vt:lpstr>
      <vt:lpstr>4_Diseño personalizado</vt:lpstr>
      <vt:lpstr>Diseño personalizado</vt:lpstr>
      <vt:lpstr>5_Diseño personalizado</vt:lpstr>
      <vt:lpstr>think-cell Slide</vt:lpstr>
      <vt:lpstr>Presentación de PowerPoint</vt:lpstr>
      <vt:lpstr>DIAGNOSTICO DE NECESIDADES DE APRENDIZAJE ORGANIZACIONA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De las 28 lineas de conocimiento, se evidencia las de mayor puntaje en :      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Carlos Arturo Betancourt Gonzalez</dc:creator>
  <cp:lastModifiedBy>Cesar Agusto Florez Galvis</cp:lastModifiedBy>
  <cp:revision>466</cp:revision>
  <cp:lastPrinted>2019-06-07T15:05:58Z</cp:lastPrinted>
  <dcterms:created xsi:type="dcterms:W3CDTF">2018-12-06T15:24:51Z</dcterms:created>
  <dcterms:modified xsi:type="dcterms:W3CDTF">2020-01-31T19:25:20Z</dcterms:modified>
</cp:coreProperties>
</file>